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1" r:id="rId1"/>
  </p:sldMasterIdLst>
  <p:notesMasterIdLst>
    <p:notesMasterId r:id="rId35"/>
  </p:notesMasterIdLst>
  <p:sldIdLst>
    <p:sldId id="256" r:id="rId2"/>
    <p:sldId id="258" r:id="rId3"/>
    <p:sldId id="257" r:id="rId4"/>
    <p:sldId id="270" r:id="rId5"/>
    <p:sldId id="260" r:id="rId6"/>
    <p:sldId id="259" r:id="rId7"/>
    <p:sldId id="273" r:id="rId8"/>
    <p:sldId id="271" r:id="rId9"/>
    <p:sldId id="262" r:id="rId10"/>
    <p:sldId id="264" r:id="rId11"/>
    <p:sldId id="265" r:id="rId12"/>
    <p:sldId id="266" r:id="rId13"/>
    <p:sldId id="267" r:id="rId14"/>
    <p:sldId id="269" r:id="rId15"/>
    <p:sldId id="268" r:id="rId16"/>
    <p:sldId id="261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2" r:id="rId25"/>
    <p:sldId id="281" r:id="rId26"/>
    <p:sldId id="283" r:id="rId27"/>
    <p:sldId id="284" r:id="rId28"/>
    <p:sldId id="285" r:id="rId29"/>
    <p:sldId id="286" r:id="rId30"/>
    <p:sldId id="287" r:id="rId31"/>
    <p:sldId id="620" r:id="rId32"/>
    <p:sldId id="622" r:id="rId33"/>
    <p:sldId id="263" r:id="rId34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F346D9-DB89-435D-B4D9-E0DA6DBA762B}" v="69" dt="2022-07-15T21:33:50.545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606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na MMartins" userId="a3a2760b20705012" providerId="LiveId" clId="{BFF346D9-DB89-435D-B4D9-E0DA6DBA762B}"/>
    <pc:docChg chg="custSel addSld delSld modSld sldOrd">
      <pc:chgData name="Joana MMartins" userId="a3a2760b20705012" providerId="LiveId" clId="{BFF346D9-DB89-435D-B4D9-E0DA6DBA762B}" dt="2022-07-16T19:19:20.194" v="2825" actId="313"/>
      <pc:docMkLst>
        <pc:docMk/>
      </pc:docMkLst>
      <pc:sldChg chg="modSp mod">
        <pc:chgData name="Joana MMartins" userId="a3a2760b20705012" providerId="LiveId" clId="{BFF346D9-DB89-435D-B4D9-E0DA6DBA762B}" dt="2022-07-15T17:23:00.782" v="1461" actId="27636"/>
        <pc:sldMkLst>
          <pc:docMk/>
          <pc:sldMk cId="0" sldId="256"/>
        </pc:sldMkLst>
        <pc:spChg chg="mod">
          <ac:chgData name="Joana MMartins" userId="a3a2760b20705012" providerId="LiveId" clId="{BFF346D9-DB89-435D-B4D9-E0DA6DBA762B}" dt="2022-07-15T13:52:37.139" v="10" actId="20577"/>
          <ac:spMkLst>
            <pc:docMk/>
            <pc:sldMk cId="0" sldId="256"/>
            <ac:spMk id="48" creationId="{00000000-0000-0000-0000-000000000000}"/>
          </ac:spMkLst>
        </pc:spChg>
        <pc:spChg chg="mod">
          <ac:chgData name="Joana MMartins" userId="a3a2760b20705012" providerId="LiveId" clId="{BFF346D9-DB89-435D-B4D9-E0DA6DBA762B}" dt="2022-07-15T17:23:00.782" v="1461" actId="27636"/>
          <ac:spMkLst>
            <pc:docMk/>
            <pc:sldMk cId="0" sldId="256"/>
            <ac:spMk id="49" creationId="{00000000-0000-0000-0000-000000000000}"/>
          </ac:spMkLst>
        </pc:spChg>
      </pc:sldChg>
      <pc:sldChg chg="addSp delSp modSp mod ord modNotes">
        <pc:chgData name="Joana MMartins" userId="a3a2760b20705012" providerId="LiveId" clId="{BFF346D9-DB89-435D-B4D9-E0DA6DBA762B}" dt="2022-07-15T21:33:11.091" v="2765" actId="113"/>
        <pc:sldMkLst>
          <pc:docMk/>
          <pc:sldMk cId="0" sldId="257"/>
        </pc:sldMkLst>
        <pc:spChg chg="add mod">
          <ac:chgData name="Joana MMartins" userId="a3a2760b20705012" providerId="LiveId" clId="{BFF346D9-DB89-435D-B4D9-E0DA6DBA762B}" dt="2022-07-15T21:33:11.091" v="2765" actId="113"/>
          <ac:spMkLst>
            <pc:docMk/>
            <pc:sldMk cId="0" sldId="257"/>
            <ac:spMk id="4" creationId="{D65E6A9C-23F0-E156-5530-931CA3E60AC5}"/>
          </ac:spMkLst>
        </pc:spChg>
        <pc:spChg chg="mod">
          <ac:chgData name="Joana MMartins" userId="a3a2760b20705012" providerId="LiveId" clId="{BFF346D9-DB89-435D-B4D9-E0DA6DBA762B}" dt="2022-07-15T13:57:57.792" v="83" actId="20577"/>
          <ac:spMkLst>
            <pc:docMk/>
            <pc:sldMk cId="0" sldId="257"/>
            <ac:spMk id="54" creationId="{00000000-0000-0000-0000-000000000000}"/>
          </ac:spMkLst>
        </pc:spChg>
        <pc:spChg chg="mod">
          <ac:chgData name="Joana MMartins" userId="a3a2760b20705012" providerId="LiveId" clId="{BFF346D9-DB89-435D-B4D9-E0DA6DBA762B}" dt="2022-07-15T21:33:00.801" v="2763" actId="12"/>
          <ac:spMkLst>
            <pc:docMk/>
            <pc:sldMk cId="0" sldId="257"/>
            <ac:spMk id="55" creationId="{00000000-0000-0000-0000-000000000000}"/>
          </ac:spMkLst>
        </pc:spChg>
        <pc:picChg chg="add mod">
          <ac:chgData name="Joana MMartins" userId="a3a2760b20705012" providerId="LiveId" clId="{BFF346D9-DB89-435D-B4D9-E0DA6DBA762B}" dt="2022-07-15T14:04:02.288" v="438" actId="1076"/>
          <ac:picMkLst>
            <pc:docMk/>
            <pc:sldMk cId="0" sldId="257"/>
            <ac:picMk id="6" creationId="{F204A330-740B-D1D2-54D3-D8862B06F262}"/>
          </ac:picMkLst>
        </pc:picChg>
        <pc:picChg chg="add del mod">
          <ac:chgData name="Joana MMartins" userId="a3a2760b20705012" providerId="LiveId" clId="{BFF346D9-DB89-435D-B4D9-E0DA6DBA762B}" dt="2022-07-15T14:05:28.125" v="442" actId="478"/>
          <ac:picMkLst>
            <pc:docMk/>
            <pc:sldMk cId="0" sldId="257"/>
            <ac:picMk id="8" creationId="{9030BC70-EE1F-19A0-E232-FDDCBA4A4B5E}"/>
          </ac:picMkLst>
        </pc:picChg>
        <pc:picChg chg="add del mod">
          <ac:chgData name="Joana MMartins" userId="a3a2760b20705012" providerId="LiveId" clId="{BFF346D9-DB89-435D-B4D9-E0DA6DBA762B}" dt="2022-07-15T14:05:28.125" v="442" actId="478"/>
          <ac:picMkLst>
            <pc:docMk/>
            <pc:sldMk cId="0" sldId="257"/>
            <ac:picMk id="10" creationId="{238016EF-06A7-5B79-74EF-449B2024B7EC}"/>
          </ac:picMkLst>
        </pc:picChg>
        <pc:picChg chg="add mod">
          <ac:chgData name="Joana MMartins" userId="a3a2760b20705012" providerId="LiveId" clId="{BFF346D9-DB89-435D-B4D9-E0DA6DBA762B}" dt="2022-07-15T14:05:46.078" v="445" actId="1076"/>
          <ac:picMkLst>
            <pc:docMk/>
            <pc:sldMk cId="0" sldId="257"/>
            <ac:picMk id="12" creationId="{B5F261A5-49CE-F14F-BC1C-E7969822B861}"/>
          </ac:picMkLst>
        </pc:picChg>
        <pc:picChg chg="add del mod">
          <ac:chgData name="Joana MMartins" userId="a3a2760b20705012" providerId="LiveId" clId="{BFF346D9-DB89-435D-B4D9-E0DA6DBA762B}" dt="2022-07-15T14:06:51.818" v="450" actId="478"/>
          <ac:picMkLst>
            <pc:docMk/>
            <pc:sldMk cId="0" sldId="257"/>
            <ac:picMk id="14" creationId="{9B14D34E-C08E-6566-D170-5F7C539849FE}"/>
          </ac:picMkLst>
        </pc:picChg>
        <pc:picChg chg="add mod">
          <ac:chgData name="Joana MMartins" userId="a3a2760b20705012" providerId="LiveId" clId="{BFF346D9-DB89-435D-B4D9-E0DA6DBA762B}" dt="2022-07-15T21:32:45.648" v="2749" actId="1076"/>
          <ac:picMkLst>
            <pc:docMk/>
            <pc:sldMk cId="0" sldId="257"/>
            <ac:picMk id="18" creationId="{7356C0DA-39AE-318E-5488-C7746B7D322D}"/>
          </ac:picMkLst>
        </pc:picChg>
        <pc:cxnChg chg="add">
          <ac:chgData name="Joana MMartins" userId="a3a2760b20705012" providerId="LiveId" clId="{BFF346D9-DB89-435D-B4D9-E0DA6DBA762B}" dt="2022-07-15T14:01:09.262" v="311" actId="11529"/>
          <ac:cxnSpMkLst>
            <pc:docMk/>
            <pc:sldMk cId="0" sldId="257"/>
            <ac:cxnSpMk id="3" creationId="{79DBBFF6-E0CA-A0A1-8621-DD34D3F41596}"/>
          </ac:cxnSpMkLst>
        </pc:cxnChg>
        <pc:cxnChg chg="add">
          <ac:chgData name="Joana MMartins" userId="a3a2760b20705012" providerId="LiveId" clId="{BFF346D9-DB89-435D-B4D9-E0DA6DBA762B}" dt="2022-07-15T14:07:11.319" v="451" actId="11529"/>
          <ac:cxnSpMkLst>
            <pc:docMk/>
            <pc:sldMk cId="0" sldId="257"/>
            <ac:cxnSpMk id="16" creationId="{B27E583B-62BA-BB0D-6CA2-D97E0CA9D854}"/>
          </ac:cxnSpMkLst>
        </pc:cxnChg>
      </pc:sldChg>
      <pc:sldChg chg="addSp modSp mod">
        <pc:chgData name="Joana MMartins" userId="a3a2760b20705012" providerId="LiveId" clId="{BFF346D9-DB89-435D-B4D9-E0DA6DBA762B}" dt="2022-07-16T19:19:20.194" v="2825" actId="313"/>
        <pc:sldMkLst>
          <pc:docMk/>
          <pc:sldMk cId="0" sldId="258"/>
        </pc:sldMkLst>
        <pc:spChg chg="add mod">
          <ac:chgData name="Joana MMartins" userId="a3a2760b20705012" providerId="LiveId" clId="{BFF346D9-DB89-435D-B4D9-E0DA6DBA762B}" dt="2022-07-16T19:19:20.194" v="2825" actId="313"/>
          <ac:spMkLst>
            <pc:docMk/>
            <pc:sldMk cId="0" sldId="258"/>
            <ac:spMk id="2" creationId="{FCB58D22-4E8B-330F-508B-34533C5EC6BB}"/>
          </ac:spMkLst>
        </pc:spChg>
        <pc:spChg chg="mod">
          <ac:chgData name="Joana MMartins" userId="a3a2760b20705012" providerId="LiveId" clId="{BFF346D9-DB89-435D-B4D9-E0DA6DBA762B}" dt="2022-07-15T13:54:08.400" v="31" actId="20577"/>
          <ac:spMkLst>
            <pc:docMk/>
            <pc:sldMk cId="0" sldId="258"/>
            <ac:spMk id="60" creationId="{00000000-0000-0000-0000-000000000000}"/>
          </ac:spMkLst>
        </pc:spChg>
      </pc:sldChg>
      <pc:sldChg chg="addSp delSp modSp mod ord">
        <pc:chgData name="Joana MMartins" userId="a3a2760b20705012" providerId="LiveId" clId="{BFF346D9-DB89-435D-B4D9-E0DA6DBA762B}" dt="2022-07-15T17:21:55.311" v="1423" actId="20577"/>
        <pc:sldMkLst>
          <pc:docMk/>
          <pc:sldMk cId="0" sldId="259"/>
        </pc:sldMkLst>
        <pc:spChg chg="add mod">
          <ac:chgData name="Joana MMartins" userId="a3a2760b20705012" providerId="LiveId" clId="{BFF346D9-DB89-435D-B4D9-E0DA6DBA762B}" dt="2022-07-15T17:21:22.600" v="1393" actId="1076"/>
          <ac:spMkLst>
            <pc:docMk/>
            <pc:sldMk cId="0" sldId="259"/>
            <ac:spMk id="2" creationId="{6B323923-3CF2-B85A-F44E-597AB286D9E3}"/>
          </ac:spMkLst>
        </pc:spChg>
        <pc:spChg chg="add del mod">
          <ac:chgData name="Joana MMartins" userId="a3a2760b20705012" providerId="LiveId" clId="{BFF346D9-DB89-435D-B4D9-E0DA6DBA762B}" dt="2022-07-15T17:18:51.472" v="1360"/>
          <ac:spMkLst>
            <pc:docMk/>
            <pc:sldMk cId="0" sldId="259"/>
            <ac:spMk id="3" creationId="{1D2C808B-3174-C809-24CD-CB4D017EF939}"/>
          </ac:spMkLst>
        </pc:spChg>
        <pc:spChg chg="add mod">
          <ac:chgData name="Joana MMartins" userId="a3a2760b20705012" providerId="LiveId" clId="{BFF346D9-DB89-435D-B4D9-E0DA6DBA762B}" dt="2022-07-15T17:21:55.311" v="1423" actId="20577"/>
          <ac:spMkLst>
            <pc:docMk/>
            <pc:sldMk cId="0" sldId="259"/>
            <ac:spMk id="4" creationId="{893621E1-C999-ABD7-D54B-0BF127C00D47}"/>
          </ac:spMkLst>
        </pc:spChg>
        <pc:spChg chg="add del mod">
          <ac:chgData name="Joana MMartins" userId="a3a2760b20705012" providerId="LiveId" clId="{BFF346D9-DB89-435D-B4D9-E0DA6DBA762B}" dt="2022-07-15T17:18:52.871" v="1361" actId="478"/>
          <ac:spMkLst>
            <pc:docMk/>
            <pc:sldMk cId="0" sldId="259"/>
            <ac:spMk id="65" creationId="{00000000-0000-0000-0000-000000000000}"/>
          </ac:spMkLst>
        </pc:spChg>
        <pc:picChg chg="add mod">
          <ac:chgData name="Joana MMartins" userId="a3a2760b20705012" providerId="LiveId" clId="{BFF346D9-DB89-435D-B4D9-E0DA6DBA762B}" dt="2022-07-15T17:21:48.063" v="1414" actId="1038"/>
          <ac:picMkLst>
            <pc:docMk/>
            <pc:sldMk cId="0" sldId="259"/>
            <ac:picMk id="6" creationId="{B1574733-1761-2036-982E-75CEF3FC83AF}"/>
          </ac:picMkLst>
        </pc:picChg>
      </pc:sldChg>
      <pc:sldChg chg="addSp modSp mod ord">
        <pc:chgData name="Joana MMartins" userId="a3a2760b20705012" providerId="LiveId" clId="{BFF346D9-DB89-435D-B4D9-E0DA6DBA762B}" dt="2022-07-15T17:16:40.637" v="1351" actId="1076"/>
        <pc:sldMkLst>
          <pc:docMk/>
          <pc:sldMk cId="0" sldId="260"/>
        </pc:sldMkLst>
        <pc:spChg chg="add mod">
          <ac:chgData name="Joana MMartins" userId="a3a2760b20705012" providerId="LiveId" clId="{BFF346D9-DB89-435D-B4D9-E0DA6DBA762B}" dt="2022-07-15T17:12:18.603" v="1165" actId="1076"/>
          <ac:spMkLst>
            <pc:docMk/>
            <pc:sldMk cId="0" sldId="260"/>
            <ac:spMk id="2" creationId="{B94F8011-6361-7229-AA2A-14C46260DDC9}"/>
          </ac:spMkLst>
        </pc:spChg>
        <pc:spChg chg="add mod">
          <ac:chgData name="Joana MMartins" userId="a3a2760b20705012" providerId="LiveId" clId="{BFF346D9-DB89-435D-B4D9-E0DA6DBA762B}" dt="2022-07-15T17:15:39.294" v="1346" actId="20577"/>
          <ac:spMkLst>
            <pc:docMk/>
            <pc:sldMk cId="0" sldId="260"/>
            <ac:spMk id="4" creationId="{ECEE2674-A963-41ED-C249-4D80C3B5ED9B}"/>
          </ac:spMkLst>
        </pc:spChg>
        <pc:spChg chg="mod">
          <ac:chgData name="Joana MMartins" userId="a3a2760b20705012" providerId="LiveId" clId="{BFF346D9-DB89-435D-B4D9-E0DA6DBA762B}" dt="2022-07-15T17:12:12.757" v="1164" actId="1076"/>
          <ac:spMkLst>
            <pc:docMk/>
            <pc:sldMk cId="0" sldId="260"/>
            <ac:spMk id="70" creationId="{00000000-0000-0000-0000-000000000000}"/>
          </ac:spMkLst>
        </pc:spChg>
        <pc:picChg chg="add mod">
          <ac:chgData name="Joana MMartins" userId="a3a2760b20705012" providerId="LiveId" clId="{BFF346D9-DB89-435D-B4D9-E0DA6DBA762B}" dt="2022-07-15T17:16:40.637" v="1351" actId="1076"/>
          <ac:picMkLst>
            <pc:docMk/>
            <pc:sldMk cId="0" sldId="260"/>
            <ac:picMk id="5" creationId="{D41BB0AE-3D2A-B1D5-D989-EDA5AF82F7A3}"/>
          </ac:picMkLst>
        </pc:picChg>
        <pc:picChg chg="add mod">
          <ac:chgData name="Joana MMartins" userId="a3a2760b20705012" providerId="LiveId" clId="{BFF346D9-DB89-435D-B4D9-E0DA6DBA762B}" dt="2022-07-15T17:16:37.232" v="1350" actId="1076"/>
          <ac:picMkLst>
            <pc:docMk/>
            <pc:sldMk cId="0" sldId="260"/>
            <ac:picMk id="7" creationId="{8BAEB88B-724F-9422-4DBB-7D941C5AC417}"/>
          </ac:picMkLst>
        </pc:picChg>
      </pc:sldChg>
      <pc:sldChg chg="addSp delSp modSp mod">
        <pc:chgData name="Joana MMartins" userId="a3a2760b20705012" providerId="LiveId" clId="{BFF346D9-DB89-435D-B4D9-E0DA6DBA762B}" dt="2022-07-15T17:44:04.629" v="1560" actId="478"/>
        <pc:sldMkLst>
          <pc:docMk/>
          <pc:sldMk cId="0" sldId="261"/>
        </pc:sldMkLst>
        <pc:grpChg chg="del">
          <ac:chgData name="Joana MMartins" userId="a3a2760b20705012" providerId="LiveId" clId="{BFF346D9-DB89-435D-B4D9-E0DA6DBA762B}" dt="2022-07-15T17:44:04.629" v="1560" actId="478"/>
          <ac:grpSpMkLst>
            <pc:docMk/>
            <pc:sldMk cId="0" sldId="261"/>
            <ac:grpSpMk id="75" creationId="{00000000-0000-0000-0000-000000000000}"/>
          </ac:grpSpMkLst>
        </pc:grpChg>
        <pc:picChg chg="add mod">
          <ac:chgData name="Joana MMartins" userId="a3a2760b20705012" providerId="LiveId" clId="{BFF346D9-DB89-435D-B4D9-E0DA6DBA762B}" dt="2022-07-15T17:44:02.787" v="1559" actId="1076"/>
          <ac:picMkLst>
            <pc:docMk/>
            <pc:sldMk cId="0" sldId="261"/>
            <ac:picMk id="3" creationId="{D6AE8E3F-9F28-B6A4-8415-F39B54BEE4AA}"/>
          </ac:picMkLst>
        </pc:picChg>
      </pc:sldChg>
      <pc:sldChg chg="addSp delSp modSp mod ord modNotes">
        <pc:chgData name="Joana MMartins" userId="a3a2760b20705012" providerId="LiveId" clId="{BFF346D9-DB89-435D-B4D9-E0DA6DBA762B}" dt="2022-07-15T14:10:05.881" v="495" actId="1076"/>
        <pc:sldMkLst>
          <pc:docMk/>
          <pc:sldMk cId="0" sldId="262"/>
        </pc:sldMkLst>
        <pc:spChg chg="del mod">
          <ac:chgData name="Joana MMartins" userId="a3a2760b20705012" providerId="LiveId" clId="{BFF346D9-DB89-435D-B4D9-E0DA6DBA762B}" dt="2022-07-15T14:10:01.001" v="494" actId="478"/>
          <ac:spMkLst>
            <pc:docMk/>
            <pc:sldMk cId="0" sldId="262"/>
            <ac:spMk id="84" creationId="{00000000-0000-0000-0000-000000000000}"/>
          </ac:spMkLst>
        </pc:spChg>
        <pc:spChg chg="mod">
          <ac:chgData name="Joana MMartins" userId="a3a2760b20705012" providerId="LiveId" clId="{BFF346D9-DB89-435D-B4D9-E0DA6DBA762B}" dt="2022-07-15T14:09:15.111" v="491" actId="20577"/>
          <ac:spMkLst>
            <pc:docMk/>
            <pc:sldMk cId="0" sldId="262"/>
            <ac:spMk id="85" creationId="{00000000-0000-0000-0000-000000000000}"/>
          </ac:spMkLst>
        </pc:spChg>
        <pc:picChg chg="add mod">
          <ac:chgData name="Joana MMartins" userId="a3a2760b20705012" providerId="LiveId" clId="{BFF346D9-DB89-435D-B4D9-E0DA6DBA762B}" dt="2022-07-15T14:10:05.881" v="495" actId="1076"/>
          <ac:picMkLst>
            <pc:docMk/>
            <pc:sldMk cId="0" sldId="262"/>
            <ac:picMk id="3" creationId="{82806078-0386-A97C-E407-BF996290209C}"/>
          </ac:picMkLst>
        </pc:picChg>
      </pc:sldChg>
      <pc:sldChg chg="addSp delSp modSp add mod">
        <pc:chgData name="Joana MMartins" userId="a3a2760b20705012" providerId="LiveId" clId="{BFF346D9-DB89-435D-B4D9-E0DA6DBA762B}" dt="2022-07-15T14:11:55.807" v="500" actId="22"/>
        <pc:sldMkLst>
          <pc:docMk/>
          <pc:sldMk cId="1638669177" sldId="264"/>
        </pc:sldMkLst>
        <pc:spChg chg="add del mod">
          <ac:chgData name="Joana MMartins" userId="a3a2760b20705012" providerId="LiveId" clId="{BFF346D9-DB89-435D-B4D9-E0DA6DBA762B}" dt="2022-07-15T14:11:54.829" v="499" actId="478"/>
          <ac:spMkLst>
            <pc:docMk/>
            <pc:sldMk cId="1638669177" sldId="264"/>
            <ac:spMk id="4" creationId="{ADEF6053-7F1E-8F0D-F239-11AE064A3785}"/>
          </ac:spMkLst>
        </pc:spChg>
        <pc:spChg chg="del">
          <ac:chgData name="Joana MMartins" userId="a3a2760b20705012" providerId="LiveId" clId="{BFF346D9-DB89-435D-B4D9-E0DA6DBA762B}" dt="2022-07-15T14:11:52.234" v="498" actId="478"/>
          <ac:spMkLst>
            <pc:docMk/>
            <pc:sldMk cId="1638669177" sldId="264"/>
            <ac:spMk id="85" creationId="{00000000-0000-0000-0000-000000000000}"/>
          </ac:spMkLst>
        </pc:spChg>
        <pc:picChg chg="del">
          <ac:chgData name="Joana MMartins" userId="a3a2760b20705012" providerId="LiveId" clId="{BFF346D9-DB89-435D-B4D9-E0DA6DBA762B}" dt="2022-07-15T14:11:50.177" v="497" actId="478"/>
          <ac:picMkLst>
            <pc:docMk/>
            <pc:sldMk cId="1638669177" sldId="264"/>
            <ac:picMk id="3" creationId="{82806078-0386-A97C-E407-BF996290209C}"/>
          </ac:picMkLst>
        </pc:picChg>
        <pc:picChg chg="add">
          <ac:chgData name="Joana MMartins" userId="a3a2760b20705012" providerId="LiveId" clId="{BFF346D9-DB89-435D-B4D9-E0DA6DBA762B}" dt="2022-07-15T14:11:55.807" v="500" actId="22"/>
          <ac:picMkLst>
            <pc:docMk/>
            <pc:sldMk cId="1638669177" sldId="264"/>
            <ac:picMk id="6" creationId="{88C28349-533C-9EEC-4627-EC46A27930C9}"/>
          </ac:picMkLst>
        </pc:picChg>
      </pc:sldChg>
      <pc:sldChg chg="addSp delSp modSp add mod ord">
        <pc:chgData name="Joana MMartins" userId="a3a2760b20705012" providerId="LiveId" clId="{BFF346D9-DB89-435D-B4D9-E0DA6DBA762B}" dt="2022-07-15T14:26:19.094" v="631" actId="14100"/>
        <pc:sldMkLst>
          <pc:docMk/>
          <pc:sldMk cId="2920545275" sldId="265"/>
        </pc:sldMkLst>
        <pc:spChg chg="add mod">
          <ac:chgData name="Joana MMartins" userId="a3a2760b20705012" providerId="LiveId" clId="{BFF346D9-DB89-435D-B4D9-E0DA6DBA762B}" dt="2022-07-15T14:13:41.007" v="543" actId="767"/>
          <ac:spMkLst>
            <pc:docMk/>
            <pc:sldMk cId="2920545275" sldId="265"/>
            <ac:spMk id="3" creationId="{24EE22A8-D0B5-0DE0-FCF5-7ADC68AD1010}"/>
          </ac:spMkLst>
        </pc:spChg>
        <pc:spChg chg="add del mod">
          <ac:chgData name="Joana MMartins" userId="a3a2760b20705012" providerId="LiveId" clId="{BFF346D9-DB89-435D-B4D9-E0DA6DBA762B}" dt="2022-07-15T14:25:55.433" v="627"/>
          <ac:spMkLst>
            <pc:docMk/>
            <pc:sldMk cId="2920545275" sldId="265"/>
            <ac:spMk id="10" creationId="{67401BA6-A07C-B10B-7196-85349C3AA117}"/>
          </ac:spMkLst>
        </pc:spChg>
        <pc:spChg chg="add mod">
          <ac:chgData name="Joana MMartins" userId="a3a2760b20705012" providerId="LiveId" clId="{BFF346D9-DB89-435D-B4D9-E0DA6DBA762B}" dt="2022-07-15T14:26:02.497" v="628" actId="255"/>
          <ac:spMkLst>
            <pc:docMk/>
            <pc:sldMk cId="2920545275" sldId="265"/>
            <ac:spMk id="11" creationId="{847C1878-05F0-54E4-051F-3776C26CF172}"/>
          </ac:spMkLst>
        </pc:spChg>
        <pc:spChg chg="add mod">
          <ac:chgData name="Joana MMartins" userId="a3a2760b20705012" providerId="LiveId" clId="{BFF346D9-DB89-435D-B4D9-E0DA6DBA762B}" dt="2022-07-15T14:26:09.645" v="629" actId="255"/>
          <ac:spMkLst>
            <pc:docMk/>
            <pc:sldMk cId="2920545275" sldId="265"/>
            <ac:spMk id="13" creationId="{C796155E-2A59-85A0-DEBA-0A1ECE70FAC0}"/>
          </ac:spMkLst>
        </pc:spChg>
        <pc:spChg chg="add mod">
          <ac:chgData name="Joana MMartins" userId="a3a2760b20705012" providerId="LiveId" clId="{BFF346D9-DB89-435D-B4D9-E0DA6DBA762B}" dt="2022-07-15T14:26:19.094" v="631" actId="14100"/>
          <ac:spMkLst>
            <pc:docMk/>
            <pc:sldMk cId="2920545275" sldId="265"/>
            <ac:spMk id="14" creationId="{C71E7D3E-9E33-F1D2-202D-EBA7E1A57964}"/>
          </ac:spMkLst>
        </pc:spChg>
        <pc:spChg chg="mod">
          <ac:chgData name="Joana MMartins" userId="a3a2760b20705012" providerId="LiveId" clId="{BFF346D9-DB89-435D-B4D9-E0DA6DBA762B}" dt="2022-07-15T14:13:16.105" v="541" actId="1076"/>
          <ac:spMkLst>
            <pc:docMk/>
            <pc:sldMk cId="2920545275" sldId="265"/>
            <ac:spMk id="70" creationId="{00000000-0000-0000-0000-000000000000}"/>
          </ac:spMkLst>
        </pc:spChg>
        <pc:graphicFrameChg chg="add del mod modGraphic">
          <ac:chgData name="Joana MMartins" userId="a3a2760b20705012" providerId="LiveId" clId="{BFF346D9-DB89-435D-B4D9-E0DA6DBA762B}" dt="2022-07-15T14:18:11.400" v="553" actId="478"/>
          <ac:graphicFrameMkLst>
            <pc:docMk/>
            <pc:sldMk cId="2920545275" sldId="265"/>
            <ac:graphicFrameMk id="2" creationId="{8B7CCE13-F798-89DC-862A-182307DA67DB}"/>
          </ac:graphicFrameMkLst>
        </pc:graphicFrameChg>
        <pc:picChg chg="add mod">
          <ac:chgData name="Joana MMartins" userId="a3a2760b20705012" providerId="LiveId" clId="{BFF346D9-DB89-435D-B4D9-E0DA6DBA762B}" dt="2022-07-15T14:21:59.316" v="564" actId="1076"/>
          <ac:picMkLst>
            <pc:docMk/>
            <pc:sldMk cId="2920545275" sldId="265"/>
            <ac:picMk id="5" creationId="{0A23CEC4-FB7A-0D08-CDD1-DB0769499D22}"/>
          </ac:picMkLst>
        </pc:picChg>
        <pc:picChg chg="add mod">
          <ac:chgData name="Joana MMartins" userId="a3a2760b20705012" providerId="LiveId" clId="{BFF346D9-DB89-435D-B4D9-E0DA6DBA762B}" dt="2022-07-15T14:22:03.074" v="565" actId="1076"/>
          <ac:picMkLst>
            <pc:docMk/>
            <pc:sldMk cId="2920545275" sldId="265"/>
            <ac:picMk id="7" creationId="{BD07813D-8A20-2C09-396A-F66EE57A07B4}"/>
          </ac:picMkLst>
        </pc:picChg>
        <pc:picChg chg="add mod">
          <ac:chgData name="Joana MMartins" userId="a3a2760b20705012" providerId="LiveId" clId="{BFF346D9-DB89-435D-B4D9-E0DA6DBA762B}" dt="2022-07-15T14:22:05.567" v="566" actId="1076"/>
          <ac:picMkLst>
            <pc:docMk/>
            <pc:sldMk cId="2920545275" sldId="265"/>
            <ac:picMk id="9" creationId="{09B358D7-A8A2-9D73-17CE-C1E2B8F344FA}"/>
          </ac:picMkLst>
        </pc:picChg>
      </pc:sldChg>
      <pc:sldChg chg="addSp delSp modSp add mod ord">
        <pc:chgData name="Joana MMartins" userId="a3a2760b20705012" providerId="LiveId" clId="{BFF346D9-DB89-435D-B4D9-E0DA6DBA762B}" dt="2022-07-15T17:24:06.548" v="1462" actId="14100"/>
        <pc:sldMkLst>
          <pc:docMk/>
          <pc:sldMk cId="1068530894" sldId="266"/>
        </pc:sldMkLst>
        <pc:spChg chg="add del mod">
          <ac:chgData name="Joana MMartins" userId="a3a2760b20705012" providerId="LiveId" clId="{BFF346D9-DB89-435D-B4D9-E0DA6DBA762B}" dt="2022-07-15T14:28:57.857" v="712"/>
          <ac:spMkLst>
            <pc:docMk/>
            <pc:sldMk cId="1068530894" sldId="266"/>
            <ac:spMk id="2" creationId="{B7DDA5B4-1DA1-5601-86B2-06D863B49773}"/>
          </ac:spMkLst>
        </pc:spChg>
        <pc:spChg chg="add mod">
          <ac:chgData name="Joana MMartins" userId="a3a2760b20705012" providerId="LiveId" clId="{BFF346D9-DB89-435D-B4D9-E0DA6DBA762B}" dt="2022-07-15T14:34:21.920" v="809" actId="1076"/>
          <ac:spMkLst>
            <pc:docMk/>
            <pc:sldMk cId="1068530894" sldId="266"/>
            <ac:spMk id="4" creationId="{56F11E40-17C2-BA85-8338-924B8D925C95}"/>
          </ac:spMkLst>
        </pc:spChg>
        <pc:spChg chg="add mod">
          <ac:chgData name="Joana MMartins" userId="a3a2760b20705012" providerId="LiveId" clId="{BFF346D9-DB89-435D-B4D9-E0DA6DBA762B}" dt="2022-07-15T14:34:05.340" v="806" actId="1076"/>
          <ac:spMkLst>
            <pc:docMk/>
            <pc:sldMk cId="1068530894" sldId="266"/>
            <ac:spMk id="6" creationId="{417E8643-03F0-3588-4AF8-5855F85BCC1A}"/>
          </ac:spMkLst>
        </pc:spChg>
        <pc:spChg chg="add mod">
          <ac:chgData name="Joana MMartins" userId="a3a2760b20705012" providerId="LiveId" clId="{BFF346D9-DB89-435D-B4D9-E0DA6DBA762B}" dt="2022-07-15T14:36:27.330" v="866" actId="14100"/>
          <ac:spMkLst>
            <pc:docMk/>
            <pc:sldMk cId="1068530894" sldId="266"/>
            <ac:spMk id="7" creationId="{B33E711D-B766-1132-481A-55809818E1DB}"/>
          </ac:spMkLst>
        </pc:spChg>
        <pc:spChg chg="del mod">
          <ac:chgData name="Joana MMartins" userId="a3a2760b20705012" providerId="LiveId" clId="{BFF346D9-DB89-435D-B4D9-E0DA6DBA762B}" dt="2022-07-15T14:27:20.667" v="637" actId="478"/>
          <ac:spMkLst>
            <pc:docMk/>
            <pc:sldMk cId="1068530894" sldId="266"/>
            <ac:spMk id="85" creationId="{00000000-0000-0000-0000-000000000000}"/>
          </ac:spMkLst>
        </pc:spChg>
        <pc:picChg chg="del">
          <ac:chgData name="Joana MMartins" userId="a3a2760b20705012" providerId="LiveId" clId="{BFF346D9-DB89-435D-B4D9-E0DA6DBA762B}" dt="2022-07-15T14:27:06.876" v="635" actId="478"/>
          <ac:picMkLst>
            <pc:docMk/>
            <pc:sldMk cId="1068530894" sldId="266"/>
            <ac:picMk id="3" creationId="{82806078-0386-A97C-E407-BF996290209C}"/>
          </ac:picMkLst>
        </pc:picChg>
        <pc:picChg chg="add mod">
          <ac:chgData name="Joana MMartins" userId="a3a2760b20705012" providerId="LiveId" clId="{BFF346D9-DB89-435D-B4D9-E0DA6DBA762B}" dt="2022-07-15T14:34:25.192" v="810" actId="14100"/>
          <ac:picMkLst>
            <pc:docMk/>
            <pc:sldMk cId="1068530894" sldId="266"/>
            <ac:picMk id="5" creationId="{67C8FF88-E444-5758-A76D-E8BE52241283}"/>
          </ac:picMkLst>
        </pc:picChg>
        <pc:picChg chg="add mod">
          <ac:chgData name="Joana MMartins" userId="a3a2760b20705012" providerId="LiveId" clId="{BFF346D9-DB89-435D-B4D9-E0DA6DBA762B}" dt="2022-07-15T17:24:06.548" v="1462" actId="14100"/>
          <ac:picMkLst>
            <pc:docMk/>
            <pc:sldMk cId="1068530894" sldId="266"/>
            <ac:picMk id="9" creationId="{D4C01C0C-8927-D526-8E86-6E80C4D8A7B3}"/>
          </ac:picMkLst>
        </pc:picChg>
        <pc:cxnChg chg="add mod">
          <ac:chgData name="Joana MMartins" userId="a3a2760b20705012" providerId="LiveId" clId="{BFF346D9-DB89-435D-B4D9-E0DA6DBA762B}" dt="2022-07-15T14:36:30.117" v="867" actId="1076"/>
          <ac:cxnSpMkLst>
            <pc:docMk/>
            <pc:sldMk cId="1068530894" sldId="266"/>
            <ac:cxnSpMk id="11" creationId="{7053BBA1-46F9-3344-43CC-CF3EEFF515D4}"/>
          </ac:cxnSpMkLst>
        </pc:cxnChg>
        <pc:cxnChg chg="add mod">
          <ac:chgData name="Joana MMartins" userId="a3a2760b20705012" providerId="LiveId" clId="{BFF346D9-DB89-435D-B4D9-E0DA6DBA762B}" dt="2022-07-15T14:36:33.258" v="868" actId="1076"/>
          <ac:cxnSpMkLst>
            <pc:docMk/>
            <pc:sldMk cId="1068530894" sldId="266"/>
            <ac:cxnSpMk id="13" creationId="{AB20FDA8-4778-05A2-625C-5E8F538ABAA5}"/>
          </ac:cxnSpMkLst>
        </pc:cxnChg>
      </pc:sldChg>
      <pc:sldChg chg="addSp delSp modSp add mod">
        <pc:chgData name="Joana MMartins" userId="a3a2760b20705012" providerId="LiveId" clId="{BFF346D9-DB89-435D-B4D9-E0DA6DBA762B}" dt="2022-07-15T17:24:13.927" v="1463" actId="14100"/>
        <pc:sldMkLst>
          <pc:docMk/>
          <pc:sldMk cId="1592712214" sldId="267"/>
        </pc:sldMkLst>
        <pc:spChg chg="mod">
          <ac:chgData name="Joana MMartins" userId="a3a2760b20705012" providerId="LiveId" clId="{BFF346D9-DB89-435D-B4D9-E0DA6DBA762B}" dt="2022-07-15T14:38:56.925" v="894" actId="20577"/>
          <ac:spMkLst>
            <pc:docMk/>
            <pc:sldMk cId="1592712214" sldId="267"/>
            <ac:spMk id="4" creationId="{56F11E40-17C2-BA85-8338-924B8D925C95}"/>
          </ac:spMkLst>
        </pc:spChg>
        <pc:spChg chg="mod">
          <ac:chgData name="Joana MMartins" userId="a3a2760b20705012" providerId="LiveId" clId="{BFF346D9-DB89-435D-B4D9-E0DA6DBA762B}" dt="2022-07-15T14:38:20.482" v="879" actId="20577"/>
          <ac:spMkLst>
            <pc:docMk/>
            <pc:sldMk cId="1592712214" sldId="267"/>
            <ac:spMk id="6" creationId="{417E8643-03F0-3588-4AF8-5855F85BCC1A}"/>
          </ac:spMkLst>
        </pc:spChg>
        <pc:spChg chg="mod">
          <ac:chgData name="Joana MMartins" userId="a3a2760b20705012" providerId="LiveId" clId="{BFF346D9-DB89-435D-B4D9-E0DA6DBA762B}" dt="2022-07-15T14:39:34.517" v="912" actId="255"/>
          <ac:spMkLst>
            <pc:docMk/>
            <pc:sldMk cId="1592712214" sldId="267"/>
            <ac:spMk id="7" creationId="{B33E711D-B766-1132-481A-55809818E1DB}"/>
          </ac:spMkLst>
        </pc:spChg>
        <pc:picChg chg="del">
          <ac:chgData name="Joana MMartins" userId="a3a2760b20705012" providerId="LiveId" clId="{BFF346D9-DB89-435D-B4D9-E0DA6DBA762B}" dt="2022-07-15T14:38:07.037" v="870" actId="478"/>
          <ac:picMkLst>
            <pc:docMk/>
            <pc:sldMk cId="1592712214" sldId="267"/>
            <ac:picMk id="5" creationId="{67C8FF88-E444-5758-A76D-E8BE52241283}"/>
          </ac:picMkLst>
        </pc:picChg>
        <pc:picChg chg="mod">
          <ac:chgData name="Joana MMartins" userId="a3a2760b20705012" providerId="LiveId" clId="{BFF346D9-DB89-435D-B4D9-E0DA6DBA762B}" dt="2022-07-15T17:24:13.927" v="1463" actId="14100"/>
          <ac:picMkLst>
            <pc:docMk/>
            <pc:sldMk cId="1592712214" sldId="267"/>
            <ac:picMk id="9" creationId="{D4C01C0C-8927-D526-8E86-6E80C4D8A7B3}"/>
          </ac:picMkLst>
        </pc:picChg>
        <pc:picChg chg="add mod">
          <ac:chgData name="Joana MMartins" userId="a3a2760b20705012" providerId="LiveId" clId="{BFF346D9-DB89-435D-B4D9-E0DA6DBA762B}" dt="2022-07-15T14:38:14.859" v="873" actId="1076"/>
          <ac:picMkLst>
            <pc:docMk/>
            <pc:sldMk cId="1592712214" sldId="267"/>
            <ac:picMk id="10" creationId="{799EAAFE-FB34-4425-70AA-5AD189876869}"/>
          </ac:picMkLst>
        </pc:picChg>
        <pc:cxnChg chg="del">
          <ac:chgData name="Joana MMartins" userId="a3a2760b20705012" providerId="LiveId" clId="{BFF346D9-DB89-435D-B4D9-E0DA6DBA762B}" dt="2022-07-15T14:39:16.874" v="909" actId="478"/>
          <ac:cxnSpMkLst>
            <pc:docMk/>
            <pc:sldMk cId="1592712214" sldId="267"/>
            <ac:cxnSpMk id="11" creationId="{7053BBA1-46F9-3344-43CC-CF3EEFF515D4}"/>
          </ac:cxnSpMkLst>
        </pc:cxnChg>
        <pc:cxnChg chg="del">
          <ac:chgData name="Joana MMartins" userId="a3a2760b20705012" providerId="LiveId" clId="{BFF346D9-DB89-435D-B4D9-E0DA6DBA762B}" dt="2022-07-15T14:39:18.575" v="910" actId="478"/>
          <ac:cxnSpMkLst>
            <pc:docMk/>
            <pc:sldMk cId="1592712214" sldId="267"/>
            <ac:cxnSpMk id="13" creationId="{AB20FDA8-4778-05A2-625C-5E8F538ABAA5}"/>
          </ac:cxnSpMkLst>
        </pc:cxnChg>
      </pc:sldChg>
      <pc:sldChg chg="addSp delSp modSp new mod">
        <pc:chgData name="Joana MMartins" userId="a3a2760b20705012" providerId="LiveId" clId="{BFF346D9-DB89-435D-B4D9-E0DA6DBA762B}" dt="2022-07-15T17:41:34.691" v="1557" actId="255"/>
        <pc:sldMkLst>
          <pc:docMk/>
          <pc:sldMk cId="1459239650" sldId="268"/>
        </pc:sldMkLst>
        <pc:spChg chg="mod">
          <ac:chgData name="Joana MMartins" userId="a3a2760b20705012" providerId="LiveId" clId="{BFF346D9-DB89-435D-B4D9-E0DA6DBA762B}" dt="2022-07-15T17:36:55.900" v="1540" actId="1076"/>
          <ac:spMkLst>
            <pc:docMk/>
            <pc:sldMk cId="1459239650" sldId="268"/>
            <ac:spMk id="2" creationId="{5A3DAF84-F41D-4E10-80DE-C52CA18215C4}"/>
          </ac:spMkLst>
        </pc:spChg>
        <pc:spChg chg="del">
          <ac:chgData name="Joana MMartins" userId="a3a2760b20705012" providerId="LiveId" clId="{BFF346D9-DB89-435D-B4D9-E0DA6DBA762B}" dt="2022-07-15T17:36:27.212" v="1531" actId="478"/>
          <ac:spMkLst>
            <pc:docMk/>
            <pc:sldMk cId="1459239650" sldId="268"/>
            <ac:spMk id="3" creationId="{A5F6ABAE-8133-964E-0626-7D8385768AB7}"/>
          </ac:spMkLst>
        </pc:spChg>
        <pc:spChg chg="add mod">
          <ac:chgData name="Joana MMartins" userId="a3a2760b20705012" providerId="LiveId" clId="{BFF346D9-DB89-435D-B4D9-E0DA6DBA762B}" dt="2022-07-15T17:41:34.691" v="1557" actId="255"/>
          <ac:spMkLst>
            <pc:docMk/>
            <pc:sldMk cId="1459239650" sldId="268"/>
            <ac:spMk id="6" creationId="{930F2391-CAF6-B897-316A-2328B69E5244}"/>
          </ac:spMkLst>
        </pc:spChg>
        <pc:picChg chg="add mod">
          <ac:chgData name="Joana MMartins" userId="a3a2760b20705012" providerId="LiveId" clId="{BFF346D9-DB89-435D-B4D9-E0DA6DBA762B}" dt="2022-07-15T17:36:38.635" v="1534" actId="1076"/>
          <ac:picMkLst>
            <pc:docMk/>
            <pc:sldMk cId="1459239650" sldId="268"/>
            <ac:picMk id="5" creationId="{C0824442-068C-799D-0924-D4B59139E282}"/>
          </ac:picMkLst>
        </pc:picChg>
      </pc:sldChg>
      <pc:sldChg chg="addSp delSp modSp add mod ord">
        <pc:chgData name="Joana MMartins" userId="a3a2760b20705012" providerId="LiveId" clId="{BFF346D9-DB89-435D-B4D9-E0DA6DBA762B}" dt="2022-07-15T14:43:44.424" v="925" actId="478"/>
        <pc:sldMkLst>
          <pc:docMk/>
          <pc:sldMk cId="33043642" sldId="269"/>
        </pc:sldMkLst>
        <pc:spChg chg="add del mod">
          <ac:chgData name="Joana MMartins" userId="a3a2760b20705012" providerId="LiveId" clId="{BFF346D9-DB89-435D-B4D9-E0DA6DBA762B}" dt="2022-07-15T14:43:44.424" v="925" actId="478"/>
          <ac:spMkLst>
            <pc:docMk/>
            <pc:sldMk cId="33043642" sldId="269"/>
            <ac:spMk id="4" creationId="{70ACDF55-D083-5F02-FB5D-406F8317C725}"/>
          </ac:spMkLst>
        </pc:spChg>
        <pc:spChg chg="del">
          <ac:chgData name="Joana MMartins" userId="a3a2760b20705012" providerId="LiveId" clId="{BFF346D9-DB89-435D-B4D9-E0DA6DBA762B}" dt="2022-07-15T14:43:32.352" v="920" actId="478"/>
          <ac:spMkLst>
            <pc:docMk/>
            <pc:sldMk cId="33043642" sldId="269"/>
            <ac:spMk id="11" creationId="{847C1878-05F0-54E4-051F-3776C26CF172}"/>
          </ac:spMkLst>
        </pc:spChg>
        <pc:spChg chg="del">
          <ac:chgData name="Joana MMartins" userId="a3a2760b20705012" providerId="LiveId" clId="{BFF346D9-DB89-435D-B4D9-E0DA6DBA762B}" dt="2022-07-15T14:43:34.826" v="921" actId="478"/>
          <ac:spMkLst>
            <pc:docMk/>
            <pc:sldMk cId="33043642" sldId="269"/>
            <ac:spMk id="13" creationId="{C796155E-2A59-85A0-DEBA-0A1ECE70FAC0}"/>
          </ac:spMkLst>
        </pc:spChg>
        <pc:spChg chg="del">
          <ac:chgData name="Joana MMartins" userId="a3a2760b20705012" providerId="LiveId" clId="{BFF346D9-DB89-435D-B4D9-E0DA6DBA762B}" dt="2022-07-15T14:43:37.088" v="922" actId="478"/>
          <ac:spMkLst>
            <pc:docMk/>
            <pc:sldMk cId="33043642" sldId="269"/>
            <ac:spMk id="14" creationId="{C71E7D3E-9E33-F1D2-202D-EBA7E1A57964}"/>
          </ac:spMkLst>
        </pc:spChg>
        <pc:spChg chg="del">
          <ac:chgData name="Joana MMartins" userId="a3a2760b20705012" providerId="LiveId" clId="{BFF346D9-DB89-435D-B4D9-E0DA6DBA762B}" dt="2022-07-15T14:43:40.148" v="923" actId="478"/>
          <ac:spMkLst>
            <pc:docMk/>
            <pc:sldMk cId="33043642" sldId="269"/>
            <ac:spMk id="70" creationId="{00000000-0000-0000-0000-000000000000}"/>
          </ac:spMkLst>
        </pc:spChg>
        <pc:picChg chg="del">
          <ac:chgData name="Joana MMartins" userId="a3a2760b20705012" providerId="LiveId" clId="{BFF346D9-DB89-435D-B4D9-E0DA6DBA762B}" dt="2022-07-15T14:43:26.157" v="917" actId="478"/>
          <ac:picMkLst>
            <pc:docMk/>
            <pc:sldMk cId="33043642" sldId="269"/>
            <ac:picMk id="5" creationId="{0A23CEC4-FB7A-0D08-CDD1-DB0769499D22}"/>
          </ac:picMkLst>
        </pc:picChg>
        <pc:picChg chg="del">
          <ac:chgData name="Joana MMartins" userId="a3a2760b20705012" providerId="LiveId" clId="{BFF346D9-DB89-435D-B4D9-E0DA6DBA762B}" dt="2022-07-15T14:43:27.854" v="918" actId="478"/>
          <ac:picMkLst>
            <pc:docMk/>
            <pc:sldMk cId="33043642" sldId="269"/>
            <ac:picMk id="7" creationId="{BD07813D-8A20-2C09-396A-F66EE57A07B4}"/>
          </ac:picMkLst>
        </pc:picChg>
        <pc:picChg chg="add">
          <ac:chgData name="Joana MMartins" userId="a3a2760b20705012" providerId="LiveId" clId="{BFF346D9-DB89-435D-B4D9-E0DA6DBA762B}" dt="2022-07-15T14:43:41.409" v="924" actId="22"/>
          <ac:picMkLst>
            <pc:docMk/>
            <pc:sldMk cId="33043642" sldId="269"/>
            <ac:picMk id="8" creationId="{E05AF76C-FA73-0A69-1769-18B0D68A5934}"/>
          </ac:picMkLst>
        </pc:picChg>
        <pc:picChg chg="del">
          <ac:chgData name="Joana MMartins" userId="a3a2760b20705012" providerId="LiveId" clId="{BFF346D9-DB89-435D-B4D9-E0DA6DBA762B}" dt="2022-07-15T14:43:29.465" v="919" actId="478"/>
          <ac:picMkLst>
            <pc:docMk/>
            <pc:sldMk cId="33043642" sldId="269"/>
            <ac:picMk id="9" creationId="{09B358D7-A8A2-9D73-17CE-C1E2B8F344FA}"/>
          </ac:picMkLst>
        </pc:picChg>
      </pc:sldChg>
      <pc:sldChg chg="addSp delSp modSp new mod">
        <pc:chgData name="Joana MMartins" userId="a3a2760b20705012" providerId="LiveId" clId="{BFF346D9-DB89-435D-B4D9-E0DA6DBA762B}" dt="2022-07-15T21:34:32.212" v="2782" actId="255"/>
        <pc:sldMkLst>
          <pc:docMk/>
          <pc:sldMk cId="3872332480" sldId="270"/>
        </pc:sldMkLst>
        <pc:spChg chg="del mod">
          <ac:chgData name="Joana MMartins" userId="a3a2760b20705012" providerId="LiveId" clId="{BFF346D9-DB89-435D-B4D9-E0DA6DBA762B}" dt="2022-07-15T21:33:28.180" v="2767" actId="478"/>
          <ac:spMkLst>
            <pc:docMk/>
            <pc:sldMk cId="3872332480" sldId="270"/>
            <ac:spMk id="2" creationId="{A8EAB2BC-680C-1A63-05D5-550EB126015F}"/>
          </ac:spMkLst>
        </pc:spChg>
        <pc:spChg chg="del mod">
          <ac:chgData name="Joana MMartins" userId="a3a2760b20705012" providerId="LiveId" clId="{BFF346D9-DB89-435D-B4D9-E0DA6DBA762B}" dt="2022-07-15T21:34:11.812" v="2778" actId="478"/>
          <ac:spMkLst>
            <pc:docMk/>
            <pc:sldMk cId="3872332480" sldId="270"/>
            <ac:spMk id="3" creationId="{814C5DB1-B4BA-FB3D-3B07-65459CF0B8E0}"/>
          </ac:spMkLst>
        </pc:spChg>
        <pc:spChg chg="add mod">
          <ac:chgData name="Joana MMartins" userId="a3a2760b20705012" providerId="LiveId" clId="{BFF346D9-DB89-435D-B4D9-E0DA6DBA762B}" dt="2022-07-15T21:34:25.945" v="2781" actId="255"/>
          <ac:spMkLst>
            <pc:docMk/>
            <pc:sldMk cId="3872332480" sldId="270"/>
            <ac:spMk id="4" creationId="{305DB27B-0B35-BA4C-147C-47814660AEA1}"/>
          </ac:spMkLst>
        </pc:spChg>
        <pc:spChg chg="add mod">
          <ac:chgData name="Joana MMartins" userId="a3a2760b20705012" providerId="LiveId" clId="{BFF346D9-DB89-435D-B4D9-E0DA6DBA762B}" dt="2022-07-15T21:34:32.212" v="2782" actId="255"/>
          <ac:spMkLst>
            <pc:docMk/>
            <pc:sldMk cId="3872332480" sldId="270"/>
            <ac:spMk id="5" creationId="{546B249B-A6EF-79F7-C457-122197BDFC93}"/>
          </ac:spMkLst>
        </pc:spChg>
      </pc:sldChg>
      <pc:sldChg chg="add">
        <pc:chgData name="Joana MMartins" userId="a3a2760b20705012" providerId="LiveId" clId="{BFF346D9-DB89-435D-B4D9-E0DA6DBA762B}" dt="2022-07-15T17:10:27.547" v="1051" actId="2890"/>
        <pc:sldMkLst>
          <pc:docMk/>
          <pc:sldMk cId="3082852328" sldId="271"/>
        </pc:sldMkLst>
      </pc:sldChg>
      <pc:sldChg chg="new del">
        <pc:chgData name="Joana MMartins" userId="a3a2760b20705012" providerId="LiveId" clId="{BFF346D9-DB89-435D-B4D9-E0DA6DBA762B}" dt="2022-07-15T17:10:21.040" v="1050" actId="47"/>
        <pc:sldMkLst>
          <pc:docMk/>
          <pc:sldMk cId="3879749480" sldId="271"/>
        </pc:sldMkLst>
      </pc:sldChg>
      <pc:sldChg chg="addSp delSp modSp new del ord">
        <pc:chgData name="Joana MMartins" userId="a3a2760b20705012" providerId="LiveId" clId="{BFF346D9-DB89-435D-B4D9-E0DA6DBA762B}" dt="2022-07-16T10:38:56.830" v="2783" actId="47"/>
        <pc:sldMkLst>
          <pc:docMk/>
          <pc:sldMk cId="4141852815" sldId="272"/>
        </pc:sldMkLst>
        <pc:spChg chg="add del mod">
          <ac:chgData name="Joana MMartins" userId="a3a2760b20705012" providerId="LiveId" clId="{BFF346D9-DB89-435D-B4D9-E0DA6DBA762B}" dt="2022-07-15T17:18:23.199" v="1354"/>
          <ac:spMkLst>
            <pc:docMk/>
            <pc:sldMk cId="4141852815" sldId="272"/>
            <ac:spMk id="3" creationId="{73BE9194-19CD-670A-62C8-9AFE598831B7}"/>
          </ac:spMkLst>
        </pc:spChg>
      </pc:sldChg>
      <pc:sldChg chg="add">
        <pc:chgData name="Joana MMartins" userId="a3a2760b20705012" providerId="LiveId" clId="{BFF346D9-DB89-435D-B4D9-E0DA6DBA762B}" dt="2022-07-15T17:18:37.217" v="1355" actId="2890"/>
        <pc:sldMkLst>
          <pc:docMk/>
          <pc:sldMk cId="2058270181" sldId="273"/>
        </pc:sldMkLst>
      </pc:sldChg>
      <pc:sldChg chg="addSp delSp modSp add mod ord">
        <pc:chgData name="Joana MMartins" userId="a3a2760b20705012" providerId="LiveId" clId="{BFF346D9-DB89-435D-B4D9-E0DA6DBA762B}" dt="2022-07-15T17:47:45.991" v="1631" actId="20577"/>
        <pc:sldMkLst>
          <pc:docMk/>
          <pc:sldMk cId="3138967308" sldId="274"/>
        </pc:sldMkLst>
        <pc:spChg chg="add del mod">
          <ac:chgData name="Joana MMartins" userId="a3a2760b20705012" providerId="LiveId" clId="{BFF346D9-DB89-435D-B4D9-E0DA6DBA762B}" dt="2022-07-15T17:47:13.325" v="1610" actId="21"/>
          <ac:spMkLst>
            <pc:docMk/>
            <pc:sldMk cId="3138967308" sldId="274"/>
            <ac:spMk id="2" creationId="{AFCCF4BA-69C0-457B-EA48-6C18A327ECE8}"/>
          </ac:spMkLst>
        </pc:spChg>
        <pc:spChg chg="add mod">
          <ac:chgData name="Joana MMartins" userId="a3a2760b20705012" providerId="LiveId" clId="{BFF346D9-DB89-435D-B4D9-E0DA6DBA762B}" dt="2022-07-15T17:47:45.991" v="1631" actId="20577"/>
          <ac:spMkLst>
            <pc:docMk/>
            <pc:sldMk cId="3138967308" sldId="274"/>
            <ac:spMk id="7" creationId="{9D502E58-95AA-F827-B3DB-339292552B1B}"/>
          </ac:spMkLst>
        </pc:spChg>
        <pc:picChg chg="add mod">
          <ac:chgData name="Joana MMartins" userId="a3a2760b20705012" providerId="LiveId" clId="{BFF346D9-DB89-435D-B4D9-E0DA6DBA762B}" dt="2022-07-15T17:47:09.312" v="1608" actId="1076"/>
          <ac:picMkLst>
            <pc:docMk/>
            <pc:sldMk cId="3138967308" sldId="274"/>
            <ac:picMk id="5" creationId="{D18E6547-85CF-577C-4AA0-9849FD665B99}"/>
          </ac:picMkLst>
        </pc:picChg>
        <pc:picChg chg="del">
          <ac:chgData name="Joana MMartins" userId="a3a2760b20705012" providerId="LiveId" clId="{BFF346D9-DB89-435D-B4D9-E0DA6DBA762B}" dt="2022-07-15T17:45:58.911" v="1564" actId="478"/>
          <ac:picMkLst>
            <pc:docMk/>
            <pc:sldMk cId="3138967308" sldId="274"/>
            <ac:picMk id="8" creationId="{E05AF76C-FA73-0A69-1769-18B0D68A5934}"/>
          </ac:picMkLst>
        </pc:picChg>
      </pc:sldChg>
      <pc:sldChg chg="addSp delSp modSp add mod ord">
        <pc:chgData name="Joana MMartins" userId="a3a2760b20705012" providerId="LiveId" clId="{BFF346D9-DB89-435D-B4D9-E0DA6DBA762B}" dt="2022-07-15T17:49:58.313" v="1642" actId="1076"/>
        <pc:sldMkLst>
          <pc:docMk/>
          <pc:sldMk cId="3755097599" sldId="275"/>
        </pc:sldMkLst>
        <pc:spChg chg="del">
          <ac:chgData name="Joana MMartins" userId="a3a2760b20705012" providerId="LiveId" clId="{BFF346D9-DB89-435D-B4D9-E0DA6DBA762B}" dt="2022-07-15T17:49:46.504" v="1639" actId="478"/>
          <ac:spMkLst>
            <pc:docMk/>
            <pc:sldMk cId="3755097599" sldId="275"/>
            <ac:spMk id="2" creationId="{5A3DAF84-F41D-4E10-80DE-C52CA18215C4}"/>
          </ac:spMkLst>
        </pc:spChg>
        <pc:spChg chg="del">
          <ac:chgData name="Joana MMartins" userId="a3a2760b20705012" providerId="LiveId" clId="{BFF346D9-DB89-435D-B4D9-E0DA6DBA762B}" dt="2022-07-15T17:49:43.542" v="1638" actId="478"/>
          <ac:spMkLst>
            <pc:docMk/>
            <pc:sldMk cId="3755097599" sldId="275"/>
            <ac:spMk id="6" creationId="{930F2391-CAF6-B897-316A-2328B69E5244}"/>
          </ac:spMkLst>
        </pc:spChg>
        <pc:spChg chg="add del mod">
          <ac:chgData name="Joana MMartins" userId="a3a2760b20705012" providerId="LiveId" clId="{BFF346D9-DB89-435D-B4D9-E0DA6DBA762B}" dt="2022-07-15T17:49:48.590" v="1641" actId="478"/>
          <ac:spMkLst>
            <pc:docMk/>
            <pc:sldMk cId="3755097599" sldId="275"/>
            <ac:spMk id="8" creationId="{48492DEB-D0B8-35C1-E675-02BF7B285F46}"/>
          </ac:spMkLst>
        </pc:spChg>
        <pc:picChg chg="add mod">
          <ac:chgData name="Joana MMartins" userId="a3a2760b20705012" providerId="LiveId" clId="{BFF346D9-DB89-435D-B4D9-E0DA6DBA762B}" dt="2022-07-15T17:49:58.313" v="1642" actId="1076"/>
          <ac:picMkLst>
            <pc:docMk/>
            <pc:sldMk cId="3755097599" sldId="275"/>
            <ac:picMk id="4" creationId="{E751CAB4-2FBB-9E2C-3BB1-9B82B6CCE6DF}"/>
          </ac:picMkLst>
        </pc:picChg>
        <pc:picChg chg="del">
          <ac:chgData name="Joana MMartins" userId="a3a2760b20705012" providerId="LiveId" clId="{BFF346D9-DB89-435D-B4D9-E0DA6DBA762B}" dt="2022-07-15T17:49:37.176" v="1635" actId="478"/>
          <ac:picMkLst>
            <pc:docMk/>
            <pc:sldMk cId="3755097599" sldId="275"/>
            <ac:picMk id="5" creationId="{C0824442-068C-799D-0924-D4B59139E282}"/>
          </ac:picMkLst>
        </pc:picChg>
      </pc:sldChg>
      <pc:sldChg chg="addSp delSp add mod ord">
        <pc:chgData name="Joana MMartins" userId="a3a2760b20705012" providerId="LiveId" clId="{BFF346D9-DB89-435D-B4D9-E0DA6DBA762B}" dt="2022-07-15T17:51:37.182" v="1648" actId="22"/>
        <pc:sldMkLst>
          <pc:docMk/>
          <pc:sldMk cId="1896278071" sldId="276"/>
        </pc:sldMkLst>
        <pc:spChg chg="del">
          <ac:chgData name="Joana MMartins" userId="a3a2760b20705012" providerId="LiveId" clId="{BFF346D9-DB89-435D-B4D9-E0DA6DBA762B}" dt="2022-07-15T17:51:34.561" v="1646" actId="478"/>
          <ac:spMkLst>
            <pc:docMk/>
            <pc:sldMk cId="1896278071" sldId="276"/>
            <ac:spMk id="7" creationId="{9D502E58-95AA-F827-B3DB-339292552B1B}"/>
          </ac:spMkLst>
        </pc:spChg>
        <pc:picChg chg="add">
          <ac:chgData name="Joana MMartins" userId="a3a2760b20705012" providerId="LiveId" clId="{BFF346D9-DB89-435D-B4D9-E0DA6DBA762B}" dt="2022-07-15T17:51:37.182" v="1648" actId="22"/>
          <ac:picMkLst>
            <pc:docMk/>
            <pc:sldMk cId="1896278071" sldId="276"/>
            <ac:picMk id="4" creationId="{6903A893-F1AC-120A-9790-05179A0F9701}"/>
          </ac:picMkLst>
        </pc:picChg>
        <pc:picChg chg="del">
          <ac:chgData name="Joana MMartins" userId="a3a2760b20705012" providerId="LiveId" clId="{BFF346D9-DB89-435D-B4D9-E0DA6DBA762B}" dt="2022-07-15T17:51:36.113" v="1647" actId="478"/>
          <ac:picMkLst>
            <pc:docMk/>
            <pc:sldMk cId="1896278071" sldId="276"/>
            <ac:picMk id="5" creationId="{D18E6547-85CF-577C-4AA0-9849FD665B99}"/>
          </ac:picMkLst>
        </pc:picChg>
      </pc:sldChg>
      <pc:sldChg chg="addSp delSp add mod ord">
        <pc:chgData name="Joana MMartins" userId="a3a2760b20705012" providerId="LiveId" clId="{BFF346D9-DB89-435D-B4D9-E0DA6DBA762B}" dt="2022-07-15T17:52:25.632" v="1653" actId="22"/>
        <pc:sldMkLst>
          <pc:docMk/>
          <pc:sldMk cId="1978328448" sldId="277"/>
        </pc:sldMkLst>
        <pc:picChg chg="add">
          <ac:chgData name="Joana MMartins" userId="a3a2760b20705012" providerId="LiveId" clId="{BFF346D9-DB89-435D-B4D9-E0DA6DBA762B}" dt="2022-07-15T17:52:25.632" v="1653" actId="22"/>
          <ac:picMkLst>
            <pc:docMk/>
            <pc:sldMk cId="1978328448" sldId="277"/>
            <ac:picMk id="3" creationId="{EA09F466-8D9C-E62C-3D9E-BFDF46789BF1}"/>
          </ac:picMkLst>
        </pc:picChg>
        <pc:picChg chg="del">
          <ac:chgData name="Joana MMartins" userId="a3a2760b20705012" providerId="LiveId" clId="{BFF346D9-DB89-435D-B4D9-E0DA6DBA762B}" dt="2022-07-15T17:52:24.387" v="1652" actId="478"/>
          <ac:picMkLst>
            <pc:docMk/>
            <pc:sldMk cId="1978328448" sldId="277"/>
            <ac:picMk id="4" creationId="{E751CAB4-2FBB-9E2C-3BB1-9B82B6CCE6DF}"/>
          </ac:picMkLst>
        </pc:picChg>
      </pc:sldChg>
      <pc:sldChg chg="addSp delSp modSp add mod ord">
        <pc:chgData name="Joana MMartins" userId="a3a2760b20705012" providerId="LiveId" clId="{BFF346D9-DB89-435D-B4D9-E0DA6DBA762B}" dt="2022-07-15T17:54:33.554" v="1718" actId="207"/>
        <pc:sldMkLst>
          <pc:docMk/>
          <pc:sldMk cId="4037368657" sldId="278"/>
        </pc:sldMkLst>
        <pc:spChg chg="add mod">
          <ac:chgData name="Joana MMartins" userId="a3a2760b20705012" providerId="LiveId" clId="{BFF346D9-DB89-435D-B4D9-E0DA6DBA762B}" dt="2022-07-15T17:54:33.554" v="1718" actId="207"/>
          <ac:spMkLst>
            <pc:docMk/>
            <pc:sldMk cId="4037368657" sldId="278"/>
            <ac:spMk id="6" creationId="{BEE06331-BD07-BED0-EBB4-B30A60FC1C48}"/>
          </ac:spMkLst>
        </pc:spChg>
        <pc:picChg chg="del">
          <ac:chgData name="Joana MMartins" userId="a3a2760b20705012" providerId="LiveId" clId="{BFF346D9-DB89-435D-B4D9-E0DA6DBA762B}" dt="2022-07-15T17:52:57.572" v="1657" actId="478"/>
          <ac:picMkLst>
            <pc:docMk/>
            <pc:sldMk cId="4037368657" sldId="278"/>
            <ac:picMk id="4" creationId="{6903A893-F1AC-120A-9790-05179A0F9701}"/>
          </ac:picMkLst>
        </pc:picChg>
        <pc:picChg chg="add mod">
          <ac:chgData name="Joana MMartins" userId="a3a2760b20705012" providerId="LiveId" clId="{BFF346D9-DB89-435D-B4D9-E0DA6DBA762B}" dt="2022-07-15T17:53:12.901" v="1659" actId="1076"/>
          <ac:picMkLst>
            <pc:docMk/>
            <pc:sldMk cId="4037368657" sldId="278"/>
            <ac:picMk id="5" creationId="{5697CE1B-6079-D4DD-2EC8-85CBA30617DA}"/>
          </ac:picMkLst>
        </pc:picChg>
      </pc:sldChg>
      <pc:sldChg chg="addSp delSp add mod ord">
        <pc:chgData name="Joana MMartins" userId="a3a2760b20705012" providerId="LiveId" clId="{BFF346D9-DB89-435D-B4D9-E0DA6DBA762B}" dt="2022-07-15T17:55:36.287" v="1723" actId="22"/>
        <pc:sldMkLst>
          <pc:docMk/>
          <pc:sldMk cId="262413393" sldId="279"/>
        </pc:sldMkLst>
        <pc:picChg chg="del">
          <ac:chgData name="Joana MMartins" userId="a3a2760b20705012" providerId="LiveId" clId="{BFF346D9-DB89-435D-B4D9-E0DA6DBA762B}" dt="2022-07-15T17:55:35.565" v="1722" actId="478"/>
          <ac:picMkLst>
            <pc:docMk/>
            <pc:sldMk cId="262413393" sldId="279"/>
            <ac:picMk id="3" creationId="{EA09F466-8D9C-E62C-3D9E-BFDF46789BF1}"/>
          </ac:picMkLst>
        </pc:picChg>
        <pc:picChg chg="add">
          <ac:chgData name="Joana MMartins" userId="a3a2760b20705012" providerId="LiveId" clId="{BFF346D9-DB89-435D-B4D9-E0DA6DBA762B}" dt="2022-07-15T17:55:36.287" v="1723" actId="22"/>
          <ac:picMkLst>
            <pc:docMk/>
            <pc:sldMk cId="262413393" sldId="279"/>
            <ac:picMk id="4" creationId="{03474E9B-699B-19B6-7B51-571EBC7DA901}"/>
          </ac:picMkLst>
        </pc:picChg>
      </pc:sldChg>
      <pc:sldChg chg="addSp modSp add mod ord">
        <pc:chgData name="Joana MMartins" userId="a3a2760b20705012" providerId="LiveId" clId="{BFF346D9-DB89-435D-B4D9-E0DA6DBA762B}" dt="2022-07-15T17:58:39.132" v="1850" actId="12"/>
        <pc:sldMkLst>
          <pc:docMk/>
          <pc:sldMk cId="833451904" sldId="280"/>
        </pc:sldMkLst>
        <pc:spChg chg="add mod">
          <ac:chgData name="Joana MMartins" userId="a3a2760b20705012" providerId="LiveId" clId="{BFF346D9-DB89-435D-B4D9-E0DA6DBA762B}" dt="2022-07-15T17:58:39.132" v="1850" actId="12"/>
          <ac:spMkLst>
            <pc:docMk/>
            <pc:sldMk cId="833451904" sldId="280"/>
            <ac:spMk id="2" creationId="{52A78600-F6BB-06D5-AE15-BCA42CB27A23}"/>
          </ac:spMkLst>
        </pc:spChg>
        <pc:spChg chg="mod">
          <ac:chgData name="Joana MMartins" userId="a3a2760b20705012" providerId="LiveId" clId="{BFF346D9-DB89-435D-B4D9-E0DA6DBA762B}" dt="2022-07-15T17:56:43.075" v="1745" actId="14100"/>
          <ac:spMkLst>
            <pc:docMk/>
            <pc:sldMk cId="833451904" sldId="280"/>
            <ac:spMk id="65" creationId="{00000000-0000-0000-0000-000000000000}"/>
          </ac:spMkLst>
        </pc:spChg>
      </pc:sldChg>
      <pc:sldChg chg="addSp delSp modSp new mod">
        <pc:chgData name="Joana MMartins" userId="a3a2760b20705012" providerId="LiveId" clId="{BFF346D9-DB89-435D-B4D9-E0DA6DBA762B}" dt="2022-07-15T18:12:05.368" v="1917" actId="1076"/>
        <pc:sldMkLst>
          <pc:docMk/>
          <pc:sldMk cId="845941580" sldId="281"/>
        </pc:sldMkLst>
        <pc:spChg chg="del">
          <ac:chgData name="Joana MMartins" userId="a3a2760b20705012" providerId="LiveId" clId="{BFF346D9-DB89-435D-B4D9-E0DA6DBA762B}" dt="2022-07-15T18:11:54.820" v="1913" actId="478"/>
          <ac:spMkLst>
            <pc:docMk/>
            <pc:sldMk cId="845941580" sldId="281"/>
            <ac:spMk id="2" creationId="{651AB5E5-4310-8D5C-475E-7712745A11B3}"/>
          </ac:spMkLst>
        </pc:spChg>
        <pc:picChg chg="add mod">
          <ac:chgData name="Joana MMartins" userId="a3a2760b20705012" providerId="LiveId" clId="{BFF346D9-DB89-435D-B4D9-E0DA6DBA762B}" dt="2022-07-15T18:12:05.368" v="1917" actId="1076"/>
          <ac:picMkLst>
            <pc:docMk/>
            <pc:sldMk cId="845941580" sldId="281"/>
            <ac:picMk id="4" creationId="{ABC5940A-3149-8E9D-C174-77FF5CD807F0}"/>
          </ac:picMkLst>
        </pc:picChg>
      </pc:sldChg>
      <pc:sldChg chg="addSp delSp modSp add mod ord">
        <pc:chgData name="Joana MMartins" userId="a3a2760b20705012" providerId="LiveId" clId="{BFF346D9-DB89-435D-B4D9-E0DA6DBA762B}" dt="2022-07-15T18:04:06.947" v="1912" actId="1076"/>
        <pc:sldMkLst>
          <pc:docMk/>
          <pc:sldMk cId="3935569268" sldId="282"/>
        </pc:sldMkLst>
        <pc:spChg chg="add del mod">
          <ac:chgData name="Joana MMartins" userId="a3a2760b20705012" providerId="LiveId" clId="{BFF346D9-DB89-435D-B4D9-E0DA6DBA762B}" dt="2022-07-15T18:03:24.957" v="1901" actId="21"/>
          <ac:spMkLst>
            <pc:docMk/>
            <pc:sldMk cId="3935569268" sldId="282"/>
            <ac:spMk id="2" creationId="{015A9723-EA8E-6542-95A1-ACB1FFE86D06}"/>
          </ac:spMkLst>
        </pc:spChg>
        <pc:spChg chg="add del mod">
          <ac:chgData name="Joana MMartins" userId="a3a2760b20705012" providerId="LiveId" clId="{BFF346D9-DB89-435D-B4D9-E0DA6DBA762B}" dt="2022-07-15T18:03:45.075" v="1907" actId="21"/>
          <ac:spMkLst>
            <pc:docMk/>
            <pc:sldMk cId="3935569268" sldId="282"/>
            <ac:spMk id="3" creationId="{8A0C693E-6305-6FCE-203A-D834BAFB8394}"/>
          </ac:spMkLst>
        </pc:spChg>
        <pc:spChg chg="add mod">
          <ac:chgData name="Joana MMartins" userId="a3a2760b20705012" providerId="LiveId" clId="{BFF346D9-DB89-435D-B4D9-E0DA6DBA762B}" dt="2022-07-15T18:03:34.859" v="1904" actId="1076"/>
          <ac:spMkLst>
            <pc:docMk/>
            <pc:sldMk cId="3935569268" sldId="282"/>
            <ac:spMk id="7" creationId="{619ACE84-DB79-D4FA-01F5-F87CB5D9B6AC}"/>
          </ac:spMkLst>
        </pc:spChg>
        <pc:spChg chg="add mod">
          <ac:chgData name="Joana MMartins" userId="a3a2760b20705012" providerId="LiveId" clId="{BFF346D9-DB89-435D-B4D9-E0DA6DBA762B}" dt="2022-07-15T18:04:06.947" v="1912" actId="1076"/>
          <ac:spMkLst>
            <pc:docMk/>
            <pc:sldMk cId="3935569268" sldId="282"/>
            <ac:spMk id="8" creationId="{6D5598D2-82FC-5331-0CEB-5B1338B1DF73}"/>
          </ac:spMkLst>
        </pc:spChg>
        <pc:picChg chg="del">
          <ac:chgData name="Joana MMartins" userId="a3a2760b20705012" providerId="LiveId" clId="{BFF346D9-DB89-435D-B4D9-E0DA6DBA762B}" dt="2022-07-15T17:59:25.986" v="1855" actId="478"/>
          <ac:picMkLst>
            <pc:docMk/>
            <pc:sldMk cId="3935569268" sldId="282"/>
            <ac:picMk id="4" creationId="{03474E9B-699B-19B6-7B51-571EBC7DA901}"/>
          </ac:picMkLst>
        </pc:picChg>
        <pc:picChg chg="add mod">
          <ac:chgData name="Joana MMartins" userId="a3a2760b20705012" providerId="LiveId" clId="{BFF346D9-DB89-435D-B4D9-E0DA6DBA762B}" dt="2022-07-15T18:04:02.051" v="1910" actId="1076"/>
          <ac:picMkLst>
            <pc:docMk/>
            <pc:sldMk cId="3935569268" sldId="282"/>
            <ac:picMk id="6" creationId="{754B109E-5004-1A6E-68DC-5039DA2354E3}"/>
          </ac:picMkLst>
        </pc:picChg>
      </pc:sldChg>
      <pc:sldChg chg="addSp delSp add mod ord">
        <pc:chgData name="Joana MMartins" userId="a3a2760b20705012" providerId="LiveId" clId="{BFF346D9-DB89-435D-B4D9-E0DA6DBA762B}" dt="2022-07-15T18:17:40.931" v="1922" actId="22"/>
        <pc:sldMkLst>
          <pc:docMk/>
          <pc:sldMk cId="706617732" sldId="283"/>
        </pc:sldMkLst>
        <pc:picChg chg="add">
          <ac:chgData name="Joana MMartins" userId="a3a2760b20705012" providerId="LiveId" clId="{BFF346D9-DB89-435D-B4D9-E0DA6DBA762B}" dt="2022-07-15T18:17:40.931" v="1922" actId="22"/>
          <ac:picMkLst>
            <pc:docMk/>
            <pc:sldMk cId="706617732" sldId="283"/>
            <ac:picMk id="3" creationId="{53795A7E-E2A8-32E3-697B-193D06389533}"/>
          </ac:picMkLst>
        </pc:picChg>
        <pc:picChg chg="del">
          <ac:chgData name="Joana MMartins" userId="a3a2760b20705012" providerId="LiveId" clId="{BFF346D9-DB89-435D-B4D9-E0DA6DBA762B}" dt="2022-07-15T18:17:40.287" v="1921" actId="478"/>
          <ac:picMkLst>
            <pc:docMk/>
            <pc:sldMk cId="706617732" sldId="283"/>
            <ac:picMk id="4" creationId="{03474E9B-699B-19B6-7B51-571EBC7DA901}"/>
          </ac:picMkLst>
        </pc:picChg>
      </pc:sldChg>
      <pc:sldChg chg="addSp delSp add mod">
        <pc:chgData name="Joana MMartins" userId="a3a2760b20705012" providerId="LiveId" clId="{BFF346D9-DB89-435D-B4D9-E0DA6DBA762B}" dt="2022-07-15T18:18:12.329" v="1925" actId="22"/>
        <pc:sldMkLst>
          <pc:docMk/>
          <pc:sldMk cId="3358964487" sldId="284"/>
        </pc:sldMkLst>
        <pc:picChg chg="del">
          <ac:chgData name="Joana MMartins" userId="a3a2760b20705012" providerId="LiveId" clId="{BFF346D9-DB89-435D-B4D9-E0DA6DBA762B}" dt="2022-07-15T18:18:11.554" v="1924" actId="478"/>
          <ac:picMkLst>
            <pc:docMk/>
            <pc:sldMk cId="3358964487" sldId="284"/>
            <ac:picMk id="3" creationId="{53795A7E-E2A8-32E3-697B-193D06389533}"/>
          </ac:picMkLst>
        </pc:picChg>
        <pc:picChg chg="add">
          <ac:chgData name="Joana MMartins" userId="a3a2760b20705012" providerId="LiveId" clId="{BFF346D9-DB89-435D-B4D9-E0DA6DBA762B}" dt="2022-07-15T18:18:12.329" v="1925" actId="22"/>
          <ac:picMkLst>
            <pc:docMk/>
            <pc:sldMk cId="3358964487" sldId="284"/>
            <ac:picMk id="4" creationId="{18896977-320F-AA2F-B9B2-2E8B5DFCBA20}"/>
          </ac:picMkLst>
        </pc:picChg>
      </pc:sldChg>
      <pc:sldChg chg="addSp delSp modSp new mod">
        <pc:chgData name="Joana MMartins" userId="a3a2760b20705012" providerId="LiveId" clId="{BFF346D9-DB89-435D-B4D9-E0DA6DBA762B}" dt="2022-07-16T19:18:54.500" v="2824" actId="20577"/>
        <pc:sldMkLst>
          <pc:docMk/>
          <pc:sldMk cId="354972340" sldId="285"/>
        </pc:sldMkLst>
        <pc:spChg chg="del">
          <ac:chgData name="Joana MMartins" userId="a3a2760b20705012" providerId="LiveId" clId="{BFF346D9-DB89-435D-B4D9-E0DA6DBA762B}" dt="2022-07-15T18:23:48.844" v="1927" actId="478"/>
          <ac:spMkLst>
            <pc:docMk/>
            <pc:sldMk cId="354972340" sldId="285"/>
            <ac:spMk id="2" creationId="{45D52EA2-4D01-EEF6-8262-63FD5B11D72F}"/>
          </ac:spMkLst>
        </pc:spChg>
        <pc:spChg chg="del">
          <ac:chgData name="Joana MMartins" userId="a3a2760b20705012" providerId="LiveId" clId="{BFF346D9-DB89-435D-B4D9-E0DA6DBA762B}" dt="2022-07-15T18:23:51.021" v="1928" actId="478"/>
          <ac:spMkLst>
            <pc:docMk/>
            <pc:sldMk cId="354972340" sldId="285"/>
            <ac:spMk id="3" creationId="{D9226A7D-C4D6-8FF9-23F9-BF4DC101CA85}"/>
          </ac:spMkLst>
        </pc:spChg>
        <pc:spChg chg="add mod">
          <ac:chgData name="Joana MMartins" userId="a3a2760b20705012" providerId="LiveId" clId="{BFF346D9-DB89-435D-B4D9-E0DA6DBA762B}" dt="2022-07-15T18:27:35.053" v="2069" actId="20577"/>
          <ac:spMkLst>
            <pc:docMk/>
            <pc:sldMk cId="354972340" sldId="285"/>
            <ac:spMk id="4" creationId="{F5D4832F-3879-E782-C6CF-6FA2346B90A5}"/>
          </ac:spMkLst>
        </pc:spChg>
        <pc:spChg chg="add mod">
          <ac:chgData name="Joana MMartins" userId="a3a2760b20705012" providerId="LiveId" clId="{BFF346D9-DB89-435D-B4D9-E0DA6DBA762B}" dt="2022-07-16T19:18:54.500" v="2824" actId="20577"/>
          <ac:spMkLst>
            <pc:docMk/>
            <pc:sldMk cId="354972340" sldId="285"/>
            <ac:spMk id="5" creationId="{9CBE7DEF-D6CC-7059-5DAE-C9BB4D8F5E4D}"/>
          </ac:spMkLst>
        </pc:spChg>
        <pc:spChg chg="add mod">
          <ac:chgData name="Joana MMartins" userId="a3a2760b20705012" providerId="LiveId" clId="{BFF346D9-DB89-435D-B4D9-E0DA6DBA762B}" dt="2022-07-15T18:37:22.725" v="2536" actId="1076"/>
          <ac:spMkLst>
            <pc:docMk/>
            <pc:sldMk cId="354972340" sldId="285"/>
            <ac:spMk id="6" creationId="{0469AA10-2A78-4CDA-4065-C9731EF6A118}"/>
          </ac:spMkLst>
        </pc:spChg>
        <pc:spChg chg="add mod">
          <ac:chgData name="Joana MMartins" userId="a3a2760b20705012" providerId="LiveId" clId="{BFF346D9-DB89-435D-B4D9-E0DA6DBA762B}" dt="2022-07-15T18:38:02.955" v="2570" actId="1076"/>
          <ac:spMkLst>
            <pc:docMk/>
            <pc:sldMk cId="354972340" sldId="285"/>
            <ac:spMk id="7" creationId="{ECDECFE6-030C-361C-8BA2-080FDC073957}"/>
          </ac:spMkLst>
        </pc:spChg>
      </pc:sldChg>
      <pc:sldChg chg="addSp delSp modSp add mod">
        <pc:chgData name="Joana MMartins" userId="a3a2760b20705012" providerId="LiveId" clId="{BFF346D9-DB89-435D-B4D9-E0DA6DBA762B}" dt="2022-07-15T18:41:53.185" v="2641" actId="122"/>
        <pc:sldMkLst>
          <pc:docMk/>
          <pc:sldMk cId="3906403107" sldId="286"/>
        </pc:sldMkLst>
        <pc:spChg chg="add mod">
          <ac:chgData name="Joana MMartins" userId="a3a2760b20705012" providerId="LiveId" clId="{BFF346D9-DB89-435D-B4D9-E0DA6DBA762B}" dt="2022-07-15T18:34:58.675" v="2523" actId="14100"/>
          <ac:spMkLst>
            <pc:docMk/>
            <pc:sldMk cId="3906403107" sldId="286"/>
            <ac:spMk id="2" creationId="{8539ACCE-6786-6A05-679B-5912471FB841}"/>
          </ac:spMkLst>
        </pc:spChg>
        <pc:spChg chg="mod">
          <ac:chgData name="Joana MMartins" userId="a3a2760b20705012" providerId="LiveId" clId="{BFF346D9-DB89-435D-B4D9-E0DA6DBA762B}" dt="2022-07-15T18:34:40.743" v="2499" actId="1076"/>
          <ac:spMkLst>
            <pc:docMk/>
            <pc:sldMk cId="3906403107" sldId="286"/>
            <ac:spMk id="4" creationId="{F5D4832F-3879-E782-C6CF-6FA2346B90A5}"/>
          </ac:spMkLst>
        </pc:spChg>
        <pc:spChg chg="del">
          <ac:chgData name="Joana MMartins" userId="a3a2760b20705012" providerId="LiveId" clId="{BFF346D9-DB89-435D-B4D9-E0DA6DBA762B}" dt="2022-07-15T18:28:44.192" v="2080" actId="478"/>
          <ac:spMkLst>
            <pc:docMk/>
            <pc:sldMk cId="3906403107" sldId="286"/>
            <ac:spMk id="5" creationId="{9CBE7DEF-D6CC-7059-5DAE-C9BB4D8F5E4D}"/>
          </ac:spMkLst>
        </pc:spChg>
        <pc:spChg chg="add mod">
          <ac:chgData name="Joana MMartins" userId="a3a2760b20705012" providerId="LiveId" clId="{BFF346D9-DB89-435D-B4D9-E0DA6DBA762B}" dt="2022-07-15T18:41:53.185" v="2641" actId="122"/>
          <ac:spMkLst>
            <pc:docMk/>
            <pc:sldMk cId="3906403107" sldId="286"/>
            <ac:spMk id="8" creationId="{2B2445E9-E8A1-04B7-58F6-544048EA1CE6}"/>
          </ac:spMkLst>
        </pc:spChg>
        <pc:graphicFrameChg chg="add mod modGraphic">
          <ac:chgData name="Joana MMartins" userId="a3a2760b20705012" providerId="LiveId" clId="{BFF346D9-DB89-435D-B4D9-E0DA6DBA762B}" dt="2022-07-15T18:34:04.433" v="2492" actId="1076"/>
          <ac:graphicFrameMkLst>
            <pc:docMk/>
            <pc:sldMk cId="3906403107" sldId="286"/>
            <ac:graphicFrameMk id="6" creationId="{E738F518-AA48-8215-37A1-57DA16206E33}"/>
          </ac:graphicFrameMkLst>
        </pc:graphicFrameChg>
        <pc:picChg chg="add mod">
          <ac:chgData name="Joana MMartins" userId="a3a2760b20705012" providerId="LiveId" clId="{BFF346D9-DB89-435D-B4D9-E0DA6DBA762B}" dt="2022-07-15T18:34:32.405" v="2497" actId="1076"/>
          <ac:picMkLst>
            <pc:docMk/>
            <pc:sldMk cId="3906403107" sldId="286"/>
            <ac:picMk id="7" creationId="{103DFA4C-708C-7648-7B61-150AF2EA17F4}"/>
          </ac:picMkLst>
        </pc:picChg>
      </pc:sldChg>
      <pc:sldChg chg="addSp delSp modSp add mod ord">
        <pc:chgData name="Joana MMartins" userId="a3a2760b20705012" providerId="LiveId" clId="{BFF346D9-DB89-435D-B4D9-E0DA6DBA762B}" dt="2022-07-15T18:50:30.384" v="2747" actId="1076"/>
        <pc:sldMkLst>
          <pc:docMk/>
          <pc:sldMk cId="1606351230" sldId="287"/>
        </pc:sldMkLst>
        <pc:spChg chg="add mod">
          <ac:chgData name="Joana MMartins" userId="a3a2760b20705012" providerId="LiveId" clId="{BFF346D9-DB89-435D-B4D9-E0DA6DBA762B}" dt="2022-07-15T18:50:24.847" v="2746" actId="1076"/>
          <ac:spMkLst>
            <pc:docMk/>
            <pc:sldMk cId="1606351230" sldId="287"/>
            <ac:spMk id="2" creationId="{1BE7B5C7-36A0-510F-9248-909B76525301}"/>
          </ac:spMkLst>
        </pc:spChg>
        <pc:spChg chg="mod">
          <ac:chgData name="Joana MMartins" userId="a3a2760b20705012" providerId="LiveId" clId="{BFF346D9-DB89-435D-B4D9-E0DA6DBA762B}" dt="2022-07-15T18:50:30.384" v="2747" actId="1076"/>
          <ac:spMkLst>
            <pc:docMk/>
            <pc:sldMk cId="1606351230" sldId="287"/>
            <ac:spMk id="6" creationId="{BEE06331-BD07-BED0-EBB4-B30A60FC1C48}"/>
          </ac:spMkLst>
        </pc:spChg>
        <pc:picChg chg="del">
          <ac:chgData name="Joana MMartins" userId="a3a2760b20705012" providerId="LiveId" clId="{BFF346D9-DB89-435D-B4D9-E0DA6DBA762B}" dt="2022-07-15T18:43:12.965" v="2645" actId="478"/>
          <ac:picMkLst>
            <pc:docMk/>
            <pc:sldMk cId="1606351230" sldId="287"/>
            <ac:picMk id="5" creationId="{5697CE1B-6079-D4DD-2EC8-85CBA30617DA}"/>
          </ac:picMkLst>
        </pc:picChg>
      </pc:sldChg>
      <pc:sldChg chg="delSp add del mod delAnim">
        <pc:chgData name="Joana MMartins" userId="a3a2760b20705012" providerId="LiveId" clId="{BFF346D9-DB89-435D-B4D9-E0DA6DBA762B}" dt="2022-07-15T18:48:08.529" v="2737" actId="47"/>
        <pc:sldMkLst>
          <pc:docMk/>
          <pc:sldMk cId="1500386988" sldId="619"/>
        </pc:sldMkLst>
        <pc:spChg chg="del">
          <ac:chgData name="Joana MMartins" userId="a3a2760b20705012" providerId="LiveId" clId="{BFF346D9-DB89-435D-B4D9-E0DA6DBA762B}" dt="2022-07-15T18:46:59.910" v="2727" actId="21"/>
          <ac:spMkLst>
            <pc:docMk/>
            <pc:sldMk cId="1500386988" sldId="619"/>
            <ac:spMk id="3" creationId="{00000000-0000-0000-0000-000000000000}"/>
          </ac:spMkLst>
        </pc:spChg>
        <pc:picChg chg="del">
          <ac:chgData name="Joana MMartins" userId="a3a2760b20705012" providerId="LiveId" clId="{BFF346D9-DB89-435D-B4D9-E0DA6DBA762B}" dt="2022-07-15T18:46:28.687" v="2716" actId="21"/>
          <ac:picMkLst>
            <pc:docMk/>
            <pc:sldMk cId="1500386988" sldId="619"/>
            <ac:picMk id="106497" creationId="{00000000-0000-0000-0000-000000000000}"/>
          </ac:picMkLst>
        </pc:picChg>
      </pc:sldChg>
      <pc:sldChg chg="addSp delSp modSp add mod ord modAnim">
        <pc:chgData name="Joana MMartins" userId="a3a2760b20705012" providerId="LiveId" clId="{BFF346D9-DB89-435D-B4D9-E0DA6DBA762B}" dt="2022-07-15T18:47:59.249" v="2736" actId="14100"/>
        <pc:sldMkLst>
          <pc:docMk/>
          <pc:sldMk cId="2625278579" sldId="620"/>
        </pc:sldMkLst>
        <pc:spChg chg="del">
          <ac:chgData name="Joana MMartins" userId="a3a2760b20705012" providerId="LiveId" clId="{BFF346D9-DB89-435D-B4D9-E0DA6DBA762B}" dt="2022-07-15T18:46:39.726" v="2720" actId="478"/>
          <ac:spMkLst>
            <pc:docMk/>
            <pc:sldMk cId="2625278579" sldId="620"/>
            <ac:spMk id="4" creationId="{F5D4832F-3879-E782-C6CF-6FA2346B90A5}"/>
          </ac:spMkLst>
        </pc:spChg>
        <pc:spChg chg="del">
          <ac:chgData name="Joana MMartins" userId="a3a2760b20705012" providerId="LiveId" clId="{BFF346D9-DB89-435D-B4D9-E0DA6DBA762B}" dt="2022-07-15T18:46:42.076" v="2721" actId="478"/>
          <ac:spMkLst>
            <pc:docMk/>
            <pc:sldMk cId="2625278579" sldId="620"/>
            <ac:spMk id="5" creationId="{9CBE7DEF-D6CC-7059-5DAE-C9BB4D8F5E4D}"/>
          </ac:spMkLst>
        </pc:spChg>
        <pc:spChg chg="del">
          <ac:chgData name="Joana MMartins" userId="a3a2760b20705012" providerId="LiveId" clId="{BFF346D9-DB89-435D-B4D9-E0DA6DBA762B}" dt="2022-07-15T18:46:44.779" v="2722" actId="478"/>
          <ac:spMkLst>
            <pc:docMk/>
            <pc:sldMk cId="2625278579" sldId="620"/>
            <ac:spMk id="6" creationId="{0469AA10-2A78-4CDA-4065-C9731EF6A118}"/>
          </ac:spMkLst>
        </pc:spChg>
        <pc:spChg chg="del">
          <ac:chgData name="Joana MMartins" userId="a3a2760b20705012" providerId="LiveId" clId="{BFF346D9-DB89-435D-B4D9-E0DA6DBA762B}" dt="2022-07-15T18:46:46.893" v="2723" actId="478"/>
          <ac:spMkLst>
            <pc:docMk/>
            <pc:sldMk cId="2625278579" sldId="620"/>
            <ac:spMk id="7" creationId="{ECDECFE6-030C-361C-8BA2-080FDC073957}"/>
          </ac:spMkLst>
        </pc:spChg>
        <pc:spChg chg="add mod">
          <ac:chgData name="Joana MMartins" userId="a3a2760b20705012" providerId="LiveId" clId="{BFF346D9-DB89-435D-B4D9-E0DA6DBA762B}" dt="2022-07-15T18:47:59.249" v="2736" actId="14100"/>
          <ac:spMkLst>
            <pc:docMk/>
            <pc:sldMk cId="2625278579" sldId="620"/>
            <ac:spMk id="9" creationId="{D56DA840-8406-C1E8-AF98-BBDCDA367063}"/>
          </ac:spMkLst>
        </pc:spChg>
        <pc:picChg chg="add mod">
          <ac:chgData name="Joana MMartins" userId="a3a2760b20705012" providerId="LiveId" clId="{BFF346D9-DB89-435D-B4D9-E0DA6DBA762B}" dt="2022-07-15T18:47:44.581" v="2733" actId="1076"/>
          <ac:picMkLst>
            <pc:docMk/>
            <pc:sldMk cId="2625278579" sldId="620"/>
            <ac:picMk id="8" creationId="{91E9579A-701D-2BE5-50BE-2052B2CACBF5}"/>
          </ac:picMkLst>
        </pc:picChg>
      </pc:sldChg>
      <pc:sldChg chg="modSp mod">
        <pc:chgData name="Joana MMartins" userId="a3a2760b20705012" providerId="LiveId" clId="{BFF346D9-DB89-435D-B4D9-E0DA6DBA762B}" dt="2022-07-15T18:49:44.102" v="2739" actId="1076"/>
        <pc:sldMkLst>
          <pc:docMk/>
          <pc:sldMk cId="3582808440" sldId="622"/>
        </pc:sldMkLst>
        <pc:spChg chg="mod">
          <ac:chgData name="Joana MMartins" userId="a3a2760b20705012" providerId="LiveId" clId="{BFF346D9-DB89-435D-B4D9-E0DA6DBA762B}" dt="2022-07-15T18:49:44.102" v="2739" actId="1076"/>
          <ac:spMkLst>
            <pc:docMk/>
            <pc:sldMk cId="3582808440" sldId="622"/>
            <ac:spMk id="21" creationId="{00000000-0000-0000-0000-000000000000}"/>
          </ac:spMkLst>
        </pc:spChg>
        <pc:picChg chg="mod">
          <ac:chgData name="Joana MMartins" userId="a3a2760b20705012" providerId="LiveId" clId="{BFF346D9-DB89-435D-B4D9-E0DA6DBA762B}" dt="2022-07-15T18:49:38.246" v="2738" actId="1076"/>
          <ac:picMkLst>
            <pc:docMk/>
            <pc:sldMk cId="3582808440" sldId="622"/>
            <ac:picMk id="32" creationId="{00000000-0000-0000-0000-000000000000}"/>
          </ac:picMkLst>
        </pc:picChg>
      </pc:sldChg>
      <pc:sldMasterChg chg="delSldLayout">
        <pc:chgData name="Joana MMartins" userId="a3a2760b20705012" providerId="LiveId" clId="{BFF346D9-DB89-435D-B4D9-E0DA6DBA762B}" dt="2022-07-15T18:48:08.529" v="2737" actId="47"/>
        <pc:sldMasterMkLst>
          <pc:docMk/>
          <pc:sldMasterMk cId="0" sldId="2147483661"/>
        </pc:sldMasterMkLst>
        <pc:sldLayoutChg chg="del">
          <pc:chgData name="Joana MMartins" userId="a3a2760b20705012" providerId="LiveId" clId="{BFF346D9-DB89-435D-B4D9-E0DA6DBA762B}" dt="2022-07-15T18:48:08.529" v="2737" actId="47"/>
          <pc:sldLayoutMkLst>
            <pc:docMk/>
            <pc:sldMasterMk cId="0" sldId="2147483661"/>
            <pc:sldLayoutMk cId="2846720076" sldId="214748366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" name="Google Shape;4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67731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10b9b6c669d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10b9b6c669d_0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14560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10b9b6c669d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10b9b6c669d_0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504275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656407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10b9b6c66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10b9b6c66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52595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89600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47423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g10b9b6c669d_0_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" name="Google Shape;63;g10b9b6c669d_0_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63157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82218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0b9b6c669d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0b9b6c669d_0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9FDC1E-1C34-4E43-A516-C578D79A6A57}" type="slidenum">
              <a:rPr lang="pt-BR" smtClean="0"/>
              <a:pPr/>
              <a:t>3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758473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10b9b6c669d_0_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10b9b6c669d_0_6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10b9b6c669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10b9b6c669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g10b9b6c669d_0_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" name="Google Shape;63;g10b9b6c669d_0_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g10b9b6c669d_0_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" name="Google Shape;63;g10b9b6c669d_0_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35597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0b9b6c669d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10b9b6c669d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4085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10b9b6c669d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10b9b6c669d_0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10b9b6c669d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10b9b6c669d_0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24099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995025" y="903325"/>
            <a:ext cx="73851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4200"/>
              <a:buNone/>
              <a:defRPr sz="4200" b="1">
                <a:solidFill>
                  <a:srgbClr val="31313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995025" y="2955925"/>
            <a:ext cx="6373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None/>
              <a:defRPr sz="2000">
                <a:solidFill>
                  <a:srgbClr val="FFFFFF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1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38" name="Google Shape;38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12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12000"/>
              <a:buNone/>
              <a:defRPr sz="12000" b="1">
                <a:solidFill>
                  <a:srgbClr val="F6AA1C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1" name="Google Shape;41;p12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 1">
  <p:cSld name="BLANK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1080150" y="2150850"/>
            <a:ext cx="69837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3600"/>
              <a:buNone/>
              <a:defRPr sz="3600" b="1">
                <a:solidFill>
                  <a:srgbClr val="31313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4"/>
          <p:cNvSpPr txBox="1">
            <a:spLocks noGrp="1"/>
          </p:cNvSpPr>
          <p:nvPr>
            <p:ph type="title"/>
          </p:nvPr>
        </p:nvSpPr>
        <p:spPr>
          <a:xfrm>
            <a:off x="831650" y="752300"/>
            <a:ext cx="800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4"/>
          <p:cNvSpPr txBox="1">
            <a:spLocks noGrp="1"/>
          </p:cNvSpPr>
          <p:nvPr>
            <p:ph type="body" idx="1"/>
          </p:nvPr>
        </p:nvSpPr>
        <p:spPr>
          <a:xfrm>
            <a:off x="831650" y="1398450"/>
            <a:ext cx="8000700" cy="31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9" name="Google Shape;19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800"/>
              <a:buNone/>
              <a:defRPr b="1">
                <a:solidFill>
                  <a:srgbClr val="31313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7"/>
          <p:cNvSpPr txBox="1">
            <a:spLocks noGrp="1"/>
          </p:cNvSpPr>
          <p:nvPr>
            <p:ph type="title"/>
          </p:nvPr>
        </p:nvSpPr>
        <p:spPr>
          <a:xfrm>
            <a:off x="311700" y="83635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ts val="2400"/>
              <a:buNone/>
              <a:defRPr sz="2400" b="1">
                <a:solidFill>
                  <a:srgbClr val="31313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5" name="Google Shape;25;p7"/>
          <p:cNvSpPr txBox="1">
            <a:spLocks noGrp="1"/>
          </p:cNvSpPr>
          <p:nvPr>
            <p:ph type="body" idx="1"/>
          </p:nvPr>
        </p:nvSpPr>
        <p:spPr>
          <a:xfrm>
            <a:off x="311700" y="1906950"/>
            <a:ext cx="6844800" cy="2662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8"/>
          <p:cNvSpPr txBox="1">
            <a:spLocks noGrp="1"/>
          </p:cNvSpPr>
          <p:nvPr>
            <p:ph type="title"/>
          </p:nvPr>
        </p:nvSpPr>
        <p:spPr>
          <a:xfrm>
            <a:off x="886325" y="526350"/>
            <a:ext cx="5035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None/>
              <a:defRPr sz="50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nto principal 1">
  <p:cSld name="MAIN_POINT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9"/>
          <p:cNvSpPr txBox="1">
            <a:spLocks noGrp="1"/>
          </p:cNvSpPr>
          <p:nvPr>
            <p:ph type="title"/>
          </p:nvPr>
        </p:nvSpPr>
        <p:spPr>
          <a:xfrm>
            <a:off x="886325" y="526350"/>
            <a:ext cx="5035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None/>
              <a:defRPr sz="5000" b="1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 b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10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32;p10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F6AA1C"/>
              </a:buClr>
              <a:buSzPts val="3000"/>
              <a:buNone/>
              <a:defRPr sz="3000" b="1">
                <a:solidFill>
                  <a:srgbClr val="F6AA1C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3" name="Google Shape;33;p10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4" name="Google Shape;34;p10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5" name="Google Shape;35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>
          <a:blip r:embed="rId15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.jpg"/><Relationship Id="rId4" Type="http://schemas.openxmlformats.org/officeDocument/2006/relationships/image" Target="../media/image2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2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MNJmuEtUgxw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5"/>
          <p:cNvSpPr txBox="1">
            <a:spLocks noGrp="1"/>
          </p:cNvSpPr>
          <p:nvPr>
            <p:ph type="ctrTitle"/>
          </p:nvPr>
        </p:nvSpPr>
        <p:spPr>
          <a:xfrm>
            <a:off x="995025" y="903325"/>
            <a:ext cx="73851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Treinamento</a:t>
            </a:r>
            <a:endParaRPr dirty="0"/>
          </a:p>
        </p:txBody>
      </p:sp>
      <p:sp>
        <p:nvSpPr>
          <p:cNvPr id="49" name="Google Shape;49;p15"/>
          <p:cNvSpPr txBox="1">
            <a:spLocks noGrp="1"/>
          </p:cNvSpPr>
          <p:nvPr>
            <p:ph type="subTitle" idx="1"/>
          </p:nvPr>
        </p:nvSpPr>
        <p:spPr>
          <a:xfrm>
            <a:off x="995025" y="2955925"/>
            <a:ext cx="6373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MEC – MODELO DE EXECUÇÃO COMERCIA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2022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88C28349-533C-9EEC-4627-EC46A27930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364" y="175878"/>
            <a:ext cx="6249272" cy="47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669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1080150" y="587521"/>
            <a:ext cx="69837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 err="1"/>
              <a:t>Pré</a:t>
            </a:r>
            <a:r>
              <a:rPr lang="pt-BR" dirty="0"/>
              <a:t> venda:</a:t>
            </a:r>
            <a:endParaRPr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5" name="Imagem 4" descr="Pessoas em reunião">
            <a:extLst>
              <a:ext uri="{FF2B5EF4-FFF2-40B4-BE49-F238E27FC236}">
                <a16:creationId xmlns:a16="http://schemas.microsoft.com/office/drawing/2014/main" id="{0A23CEC4-FB7A-0D08-CDD1-DB0769499D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39" y="883893"/>
            <a:ext cx="2692104" cy="1766163"/>
          </a:xfrm>
          <a:prstGeom prst="rect">
            <a:avLst/>
          </a:prstGeom>
        </p:spPr>
      </p:pic>
      <p:pic>
        <p:nvPicPr>
          <p:cNvPr id="7" name="Imagem 6" descr="Calculadora, caneta, bússola, dinheiro e um papel com gráficos impressos">
            <a:extLst>
              <a:ext uri="{FF2B5EF4-FFF2-40B4-BE49-F238E27FC236}">
                <a16:creationId xmlns:a16="http://schemas.microsoft.com/office/drawing/2014/main" id="{BD07813D-8A20-2C09-396A-F66EE57A07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841" y="2450032"/>
            <a:ext cx="2559838" cy="1545070"/>
          </a:xfrm>
          <a:prstGeom prst="rect">
            <a:avLst/>
          </a:prstGeom>
        </p:spPr>
      </p:pic>
      <p:pic>
        <p:nvPicPr>
          <p:cNvPr id="9" name="Imagem 8" descr="Três flechas no alvo">
            <a:extLst>
              <a:ext uri="{FF2B5EF4-FFF2-40B4-BE49-F238E27FC236}">
                <a16:creationId xmlns:a16="http://schemas.microsoft.com/office/drawing/2014/main" id="{09B358D7-A8A2-9D73-17CE-C1E2B8F344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7743" y="3142277"/>
            <a:ext cx="2363184" cy="1545070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847C1878-05F0-54E4-051F-3776C26CF172}"/>
              </a:ext>
            </a:extLst>
          </p:cNvPr>
          <p:cNvSpPr txBox="1"/>
          <p:nvPr/>
        </p:nvSpPr>
        <p:spPr>
          <a:xfrm>
            <a:off x="2947743" y="1671484"/>
            <a:ext cx="1624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BR" sz="1600" dirty="0"/>
              <a:t>ESTUD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796155E-2A59-85A0-DEBA-0A1ECE70FAC0}"/>
              </a:ext>
            </a:extLst>
          </p:cNvPr>
          <p:cNvSpPr txBox="1"/>
          <p:nvPr/>
        </p:nvSpPr>
        <p:spPr>
          <a:xfrm>
            <a:off x="3555174" y="2580148"/>
            <a:ext cx="1624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BR" sz="1600" dirty="0"/>
              <a:t>GESTÃ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71E7D3E-9E33-F1D2-202D-EBA7E1A57964}"/>
              </a:ext>
            </a:extLst>
          </p:cNvPr>
          <p:cNvSpPr txBox="1"/>
          <p:nvPr/>
        </p:nvSpPr>
        <p:spPr>
          <a:xfrm>
            <a:off x="5418386" y="3760923"/>
            <a:ext cx="22802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BR" sz="1600" dirty="0"/>
              <a:t>PLANEJAMENTO</a:t>
            </a:r>
          </a:p>
        </p:txBody>
      </p:sp>
    </p:spTree>
    <p:extLst>
      <p:ext uri="{BB962C8B-B14F-4D97-AF65-F5344CB8AC3E}">
        <p14:creationId xmlns:p14="http://schemas.microsoft.com/office/powerpoint/2010/main" val="29205452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Pessoas em reunião">
            <a:extLst>
              <a:ext uri="{FF2B5EF4-FFF2-40B4-BE49-F238E27FC236}">
                <a16:creationId xmlns:a16="http://schemas.microsoft.com/office/drawing/2014/main" id="{67C8FF88-E444-5758-A76D-E8BE522412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39" y="883893"/>
            <a:ext cx="4677480" cy="3068675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417E8643-03F0-3588-4AF8-5855F85BCC1A}"/>
              </a:ext>
            </a:extLst>
          </p:cNvPr>
          <p:cNvSpPr txBox="1"/>
          <p:nvPr/>
        </p:nvSpPr>
        <p:spPr>
          <a:xfrm>
            <a:off x="617498" y="314506"/>
            <a:ext cx="2184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BR" sz="2800" dirty="0"/>
              <a:t>ESTUD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6F11E40-17C2-BA85-8338-924B8D925C95}"/>
              </a:ext>
            </a:extLst>
          </p:cNvPr>
          <p:cNvSpPr txBox="1"/>
          <p:nvPr/>
        </p:nvSpPr>
        <p:spPr>
          <a:xfrm>
            <a:off x="186813" y="4390365"/>
            <a:ext cx="2692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Páginas 9, 10 e 11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B33E711D-B766-1132-481A-55809818E1DB}"/>
              </a:ext>
            </a:extLst>
          </p:cNvPr>
          <p:cNvSpPr txBox="1"/>
          <p:nvPr/>
        </p:nvSpPr>
        <p:spPr>
          <a:xfrm>
            <a:off x="5847519" y="2418230"/>
            <a:ext cx="28245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/>
              <a:t>Práticas que cada um pode fazer</a:t>
            </a:r>
          </a:p>
          <a:p>
            <a:endParaRPr lang="pt-BR" sz="1800" dirty="0"/>
          </a:p>
          <a:p>
            <a:r>
              <a:rPr lang="pt-BR" sz="1800" dirty="0"/>
              <a:t>Não faço e preciso fazer</a:t>
            </a:r>
          </a:p>
          <a:p>
            <a:r>
              <a:rPr lang="pt-BR" sz="1800" dirty="0"/>
              <a:t>Faço e preciso manter</a:t>
            </a:r>
          </a:p>
        </p:txBody>
      </p:sp>
      <p:pic>
        <p:nvPicPr>
          <p:cNvPr id="9" name="Gráfico 8" descr="Pensamento com preenchimento sólido">
            <a:extLst>
              <a:ext uri="{FF2B5EF4-FFF2-40B4-BE49-F238E27FC236}">
                <a16:creationId xmlns:a16="http://schemas.microsoft.com/office/drawing/2014/main" id="{D4C01C0C-8927-D526-8E86-6E80C4D8A7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33118" y="1190932"/>
            <a:ext cx="1905941" cy="1905941"/>
          </a:xfrm>
          <a:prstGeom prst="rect">
            <a:avLst/>
          </a:prstGeom>
        </p:spPr>
      </p:pic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7053BBA1-46F9-3344-43CC-CF3EEFF515D4}"/>
              </a:ext>
            </a:extLst>
          </p:cNvPr>
          <p:cNvCxnSpPr/>
          <p:nvPr/>
        </p:nvCxnSpPr>
        <p:spPr>
          <a:xfrm>
            <a:off x="5289755" y="3170759"/>
            <a:ext cx="557764" cy="235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AB20FDA8-4778-05A2-625C-5E8F538ABAA5}"/>
              </a:ext>
            </a:extLst>
          </p:cNvPr>
          <p:cNvCxnSpPr/>
          <p:nvPr/>
        </p:nvCxnSpPr>
        <p:spPr>
          <a:xfrm>
            <a:off x="5289755" y="3533158"/>
            <a:ext cx="557764" cy="235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530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>
            <a:extLst>
              <a:ext uri="{FF2B5EF4-FFF2-40B4-BE49-F238E27FC236}">
                <a16:creationId xmlns:a16="http://schemas.microsoft.com/office/drawing/2014/main" id="{417E8643-03F0-3588-4AF8-5855F85BCC1A}"/>
              </a:ext>
            </a:extLst>
          </p:cNvPr>
          <p:cNvSpPr txBox="1"/>
          <p:nvPr/>
        </p:nvSpPr>
        <p:spPr>
          <a:xfrm>
            <a:off x="617498" y="314506"/>
            <a:ext cx="2184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t-BR" sz="2800" dirty="0"/>
              <a:t>GESTÃ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6F11E40-17C2-BA85-8338-924B8D925C95}"/>
              </a:ext>
            </a:extLst>
          </p:cNvPr>
          <p:cNvSpPr txBox="1"/>
          <p:nvPr/>
        </p:nvSpPr>
        <p:spPr>
          <a:xfrm>
            <a:off x="186813" y="4390365"/>
            <a:ext cx="2692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Página 18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B33E711D-B766-1132-481A-55809818E1DB}"/>
              </a:ext>
            </a:extLst>
          </p:cNvPr>
          <p:cNvSpPr txBox="1"/>
          <p:nvPr/>
        </p:nvSpPr>
        <p:spPr>
          <a:xfrm>
            <a:off x="5847519" y="2418230"/>
            <a:ext cx="282453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/>
              <a:t>Quando fazer?</a:t>
            </a:r>
          </a:p>
          <a:p>
            <a:endParaRPr lang="pt-BR" sz="1800" dirty="0"/>
          </a:p>
        </p:txBody>
      </p:sp>
      <p:pic>
        <p:nvPicPr>
          <p:cNvPr id="9" name="Gráfico 8" descr="Pensamento com preenchimento sólido">
            <a:extLst>
              <a:ext uri="{FF2B5EF4-FFF2-40B4-BE49-F238E27FC236}">
                <a16:creationId xmlns:a16="http://schemas.microsoft.com/office/drawing/2014/main" id="{D4C01C0C-8927-D526-8E86-6E80C4D8A7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78924" y="1091381"/>
            <a:ext cx="1784049" cy="1784049"/>
          </a:xfrm>
          <a:prstGeom prst="rect">
            <a:avLst/>
          </a:prstGeom>
        </p:spPr>
      </p:pic>
      <p:pic>
        <p:nvPicPr>
          <p:cNvPr id="10" name="Imagem 9" descr="Calculadora, caneta, bússola, dinheiro e um papel com gráficos impressos">
            <a:extLst>
              <a:ext uri="{FF2B5EF4-FFF2-40B4-BE49-F238E27FC236}">
                <a16:creationId xmlns:a16="http://schemas.microsoft.com/office/drawing/2014/main" id="{799EAAFE-FB34-4425-70AA-5AD1898768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93" y="986034"/>
            <a:ext cx="4745662" cy="2864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12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05AF76C-FA73-0A69-1769-18B0D68A59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285" y="899879"/>
            <a:ext cx="5763429" cy="334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36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3DAF84-F41D-4E10-80DE-C52CA1821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99" y="1705892"/>
            <a:ext cx="3480619" cy="1963500"/>
          </a:xfrm>
        </p:spPr>
        <p:txBody>
          <a:bodyPr>
            <a:normAutofit fontScale="90000"/>
          </a:bodyPr>
          <a:lstStyle/>
          <a:p>
            <a:r>
              <a:rPr lang="pt-BR" sz="3800" dirty="0"/>
              <a:t>Critérios para fazer a gestão da carteira de clientes</a:t>
            </a:r>
          </a:p>
        </p:txBody>
      </p:sp>
      <p:pic>
        <p:nvPicPr>
          <p:cNvPr id="5" name="Imagem 4" descr="Luzes da cidade focadas em lupa">
            <a:extLst>
              <a:ext uri="{FF2B5EF4-FFF2-40B4-BE49-F238E27FC236}">
                <a16:creationId xmlns:a16="http://schemas.microsoft.com/office/drawing/2014/main" id="{C0824442-068C-799D-0924-D4B59139E2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700" y="889404"/>
            <a:ext cx="5048270" cy="336469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30F2391-CAF6-B897-316A-2328B69E5244}"/>
              </a:ext>
            </a:extLst>
          </p:cNvPr>
          <p:cNvSpPr txBox="1"/>
          <p:nvPr/>
        </p:nvSpPr>
        <p:spPr>
          <a:xfrm>
            <a:off x="311700" y="4562168"/>
            <a:ext cx="20382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Páginas 12 a 16</a:t>
            </a:r>
          </a:p>
        </p:txBody>
      </p:sp>
    </p:spTree>
    <p:extLst>
      <p:ext uri="{BB962C8B-B14F-4D97-AF65-F5344CB8AC3E}">
        <p14:creationId xmlns:p14="http://schemas.microsoft.com/office/powerpoint/2010/main" val="14592396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D6AE8E3F-9F28-B6A4-8415-F39B54BEE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273" y="378385"/>
            <a:ext cx="6258798" cy="443927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18E6547-85CF-577C-4AA0-9849FD665B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7930" y="378073"/>
            <a:ext cx="6058746" cy="4525006"/>
          </a:xfrm>
          <a:prstGeom prst="rect">
            <a:avLst/>
          </a:prstGeom>
        </p:spPr>
      </p:pic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9D502E58-95AA-F827-B3DB-339292552B1B}"/>
              </a:ext>
            </a:extLst>
          </p:cNvPr>
          <p:cNvSpPr/>
          <p:nvPr/>
        </p:nvSpPr>
        <p:spPr>
          <a:xfrm>
            <a:off x="324465" y="3398743"/>
            <a:ext cx="2585884" cy="136668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MISSÃO DA TARDE!</a:t>
            </a:r>
          </a:p>
          <a:p>
            <a:pPr algn="ctr"/>
            <a:endParaRPr lang="pt-BR" dirty="0"/>
          </a:p>
          <a:p>
            <a:pPr algn="ctr"/>
            <a:r>
              <a:rPr lang="pt-BR" dirty="0"/>
              <a:t>Processo de Vendas</a:t>
            </a:r>
          </a:p>
        </p:txBody>
      </p:sp>
    </p:spTree>
    <p:extLst>
      <p:ext uri="{BB962C8B-B14F-4D97-AF65-F5344CB8AC3E}">
        <p14:creationId xmlns:p14="http://schemas.microsoft.com/office/powerpoint/2010/main" val="31389673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E751CAB4-2FBB-9E2C-3BB1-9B82B6CCE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469" y="363793"/>
            <a:ext cx="617306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097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903A893-F1AC-120A-9790-05179A0F97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995" y="294957"/>
            <a:ext cx="6154009" cy="455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278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7"/>
          <p:cNvSpPr txBox="1">
            <a:spLocks noGrp="1"/>
          </p:cNvSpPr>
          <p:nvPr>
            <p:ph type="title"/>
          </p:nvPr>
        </p:nvSpPr>
        <p:spPr>
          <a:xfrm>
            <a:off x="886325" y="526350"/>
            <a:ext cx="5035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Apresentações</a:t>
            </a:r>
            <a:endParaRPr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CB58D22-4E8B-330F-508B-34533C5EC6BB}"/>
              </a:ext>
            </a:extLst>
          </p:cNvPr>
          <p:cNvSpPr txBox="1"/>
          <p:nvPr/>
        </p:nvSpPr>
        <p:spPr>
          <a:xfrm>
            <a:off x="6037006" y="786581"/>
            <a:ext cx="2703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inâmica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EA09F466-8D9C-E62C-3D9E-BFDF46789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574" y="290194"/>
            <a:ext cx="609685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328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5697CE1B-6079-D4DD-2EC8-85CBA30617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609" y="235657"/>
            <a:ext cx="6096851" cy="4534533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EE06331-BD07-BED0-EBB4-B30A60FC1C48}"/>
              </a:ext>
            </a:extLst>
          </p:cNvPr>
          <p:cNvSpPr/>
          <p:nvPr/>
        </p:nvSpPr>
        <p:spPr>
          <a:xfrm>
            <a:off x="6862916" y="1219813"/>
            <a:ext cx="1661652" cy="256622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t-BR" dirty="0"/>
              <a:t>Quando usar </a:t>
            </a:r>
            <a:r>
              <a:rPr lang="pt-BR" dirty="0">
                <a:solidFill>
                  <a:schemeClr val="tx1"/>
                </a:solidFill>
                <a:highlight>
                  <a:srgbClr val="FFFF00"/>
                </a:highlight>
              </a:rPr>
              <a:t>perguntas abertas </a:t>
            </a:r>
            <a:r>
              <a:rPr lang="pt-BR" dirty="0"/>
              <a:t>e </a:t>
            </a:r>
            <a:r>
              <a:rPr lang="pt-BR" dirty="0">
                <a:solidFill>
                  <a:schemeClr val="tx1"/>
                </a:solidFill>
                <a:highlight>
                  <a:srgbClr val="FFFF00"/>
                </a:highlight>
              </a:rPr>
              <a:t>perguntas fechadas</a:t>
            </a:r>
            <a:r>
              <a:rPr lang="pt-BR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373686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3474E9B-699B-19B6-7B51-571EBC7DA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2153" y="309247"/>
            <a:ext cx="6039693" cy="452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133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8"/>
          <p:cNvSpPr txBox="1">
            <a:spLocks noGrp="1"/>
          </p:cNvSpPr>
          <p:nvPr>
            <p:ph type="title"/>
          </p:nvPr>
        </p:nvSpPr>
        <p:spPr>
          <a:xfrm>
            <a:off x="886325" y="526350"/>
            <a:ext cx="5035800" cy="2045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Perguntas abertas</a:t>
            </a:r>
            <a:endParaRPr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2A78600-F6BB-06D5-AE15-BCA42CB27A23}"/>
              </a:ext>
            </a:extLst>
          </p:cNvPr>
          <p:cNvSpPr txBox="1"/>
          <p:nvPr/>
        </p:nvSpPr>
        <p:spPr>
          <a:xfrm>
            <a:off x="924232" y="3038168"/>
            <a:ext cx="5112774" cy="1341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pt-BR" sz="1400" i="1" dirty="0">
                <a:solidFill>
                  <a:schemeClr val="bg1"/>
                </a:solidFill>
                <a:latin typeface="Calibri" charset="0"/>
              </a:rPr>
              <a:t>Como estão suas vendas (ou consumo/demanda)?</a:t>
            </a:r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pt-BR" i="1" dirty="0">
                <a:solidFill>
                  <a:schemeClr val="bg1"/>
                </a:solidFill>
                <a:latin typeface="Calibri" charset="0"/>
              </a:rPr>
              <a:t>Quais os principais desafios nos últimos meses?</a:t>
            </a:r>
            <a:endParaRPr lang="pt-BR" sz="1400" i="1" dirty="0">
              <a:solidFill>
                <a:schemeClr val="bg1"/>
              </a:solidFill>
              <a:latin typeface="Calibri" charset="0"/>
            </a:endParaRPr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pt-BR" sz="1400" i="1" dirty="0">
                <a:solidFill>
                  <a:schemeClr val="bg1"/>
                </a:solidFill>
                <a:latin typeface="Calibri" charset="0"/>
              </a:rPr>
              <a:t>Como eu posso te auxiliar nisso? </a:t>
            </a:r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pt-BR" sz="1400" i="1" dirty="0">
                <a:solidFill>
                  <a:schemeClr val="bg1"/>
                </a:solidFill>
                <a:latin typeface="Calibri" charset="0"/>
              </a:rPr>
              <a:t>Qual sua necessidade em termos de...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4519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Pessoa ouvindo através da parede">
            <a:extLst>
              <a:ext uri="{FF2B5EF4-FFF2-40B4-BE49-F238E27FC236}">
                <a16:creationId xmlns:a16="http://schemas.microsoft.com/office/drawing/2014/main" id="{754B109E-5004-1A6E-68DC-5039DA235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919"/>
            <a:ext cx="9144000" cy="5075662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619ACE84-DB79-D4FA-01F5-F87CB5D9B6AC}"/>
              </a:ext>
            </a:extLst>
          </p:cNvPr>
          <p:cNvSpPr/>
          <p:nvPr/>
        </p:nvSpPr>
        <p:spPr>
          <a:xfrm>
            <a:off x="269965" y="396856"/>
            <a:ext cx="426270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ONDAGEM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6D5598D2-82FC-5331-0CEB-5B1338B1DF73}"/>
              </a:ext>
            </a:extLst>
          </p:cNvPr>
          <p:cNvSpPr txBox="1"/>
          <p:nvPr/>
        </p:nvSpPr>
        <p:spPr>
          <a:xfrm>
            <a:off x="572566" y="4438867"/>
            <a:ext cx="4817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icas e alertas página 29</a:t>
            </a:r>
          </a:p>
        </p:txBody>
      </p:sp>
    </p:spTree>
    <p:extLst>
      <p:ext uri="{BB962C8B-B14F-4D97-AF65-F5344CB8AC3E}">
        <p14:creationId xmlns:p14="http://schemas.microsoft.com/office/powerpoint/2010/main" val="39355692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ABC5940A-3149-8E9D-C174-77FF5CD807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287" y="450749"/>
            <a:ext cx="6613077" cy="4242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9415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53795A7E-E2A8-32E3-697B-193D06389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574" y="290194"/>
            <a:ext cx="6096851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6177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18896977-320F-AA2F-B9B2-2E8B5DFCB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7864" y="309247"/>
            <a:ext cx="6068272" cy="452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9644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F5D4832F-3879-E782-C6CF-6FA2346B90A5}"/>
              </a:ext>
            </a:extLst>
          </p:cNvPr>
          <p:cNvSpPr txBox="1"/>
          <p:nvPr/>
        </p:nvSpPr>
        <p:spPr>
          <a:xfrm>
            <a:off x="648929" y="235974"/>
            <a:ext cx="39230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/>
              <a:t>Diferença entre Atributos e Benefícios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CBE7DEF-D6CC-7059-5DAE-C9BB4D8F5E4D}"/>
              </a:ext>
            </a:extLst>
          </p:cNvPr>
          <p:cNvSpPr txBox="1">
            <a:spLocks/>
          </p:cNvSpPr>
          <p:nvPr/>
        </p:nvSpPr>
        <p:spPr>
          <a:xfrm>
            <a:off x="648929" y="1162708"/>
            <a:ext cx="3091543" cy="3084827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pt-BR" sz="1200" b="1" dirty="0"/>
              <a:t>ATRIBUTOS: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tudo aquilo que o produto tem ou é;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Apenas descreve o produto;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tudo aquilo que podemos ver, sentir, medir;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inquestionável.</a:t>
            </a:r>
          </a:p>
          <a:p>
            <a:endParaRPr lang="pt-BR" sz="1200" dirty="0"/>
          </a:p>
          <a:p>
            <a:endParaRPr lang="pt-BR" sz="1200" dirty="0"/>
          </a:p>
          <a:p>
            <a:r>
              <a:rPr lang="pt-BR" sz="1200" b="1" dirty="0"/>
              <a:t>BENEFÍCIOS: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tudo aquilo que a solução faz ou proporciona ao cliente;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aquilo que a solução significa ou representa para o cliente;</a:t>
            </a:r>
          </a:p>
          <a:p>
            <a:pPr>
              <a:lnSpc>
                <a:spcPct val="150000"/>
              </a:lnSpc>
            </a:pPr>
            <a:r>
              <a:rPr lang="pt-BR" sz="1200" dirty="0"/>
              <a:t>É aquilo que o cliente ganha ao comprar o produto</a:t>
            </a:r>
          </a:p>
        </p:txBody>
      </p:sp>
      <p:sp>
        <p:nvSpPr>
          <p:cNvPr id="6" name="CaixaDeTexto 3">
            <a:extLst>
              <a:ext uri="{FF2B5EF4-FFF2-40B4-BE49-F238E27FC236}">
                <a16:creationId xmlns:a16="http://schemas.microsoft.com/office/drawing/2014/main" id="{0469AA10-2A78-4CDA-4065-C9731EF6A1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0" y="786507"/>
            <a:ext cx="4172923" cy="365754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14350" indent="-5143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endParaRPr lang="pt-BR" sz="1500" dirty="0">
              <a:latin typeface="Calibri" charset="0"/>
            </a:endParaRP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VOCÊ CONCORDA QUE....?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VOCÊ GOSTARIA DE ....?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TER ...... É IMPORTANTE PARA O SR?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VOCÊ CERTAMENTE NÃO QUER....,  NÃO É?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OBVIAMENTE , O SR. BUSCA.....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r>
              <a:rPr lang="pt-BR" sz="1800" dirty="0">
                <a:latin typeface="Calibri" charset="0"/>
              </a:rPr>
              <a:t>EU IMAGINO QUE O SR. PROCURE....</a:t>
            </a:r>
          </a:p>
          <a:p>
            <a:pPr algn="ctr" eaLnBrk="1" hangingPunct="1">
              <a:lnSpc>
                <a:spcPct val="150000"/>
              </a:lnSpc>
              <a:buFont typeface="Times New Roman" charset="0"/>
              <a:buAutoNum type="arabicPeriod"/>
            </a:pPr>
            <a:endParaRPr lang="pt-BR" sz="1500" dirty="0">
              <a:latin typeface="Calibri" charset="0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CDECFE6-030C-361C-8BA2-080FDC073957}"/>
              </a:ext>
            </a:extLst>
          </p:cNvPr>
          <p:cNvSpPr txBox="1"/>
          <p:nvPr/>
        </p:nvSpPr>
        <p:spPr>
          <a:xfrm>
            <a:off x="4696925" y="235974"/>
            <a:ext cx="3923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/>
              <a:t>Exemplos de perguntas indutivas</a:t>
            </a:r>
          </a:p>
        </p:txBody>
      </p:sp>
    </p:spTree>
    <p:extLst>
      <p:ext uri="{BB962C8B-B14F-4D97-AF65-F5344CB8AC3E}">
        <p14:creationId xmlns:p14="http://schemas.microsoft.com/office/powerpoint/2010/main" val="3549723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F5D4832F-3879-E782-C6CF-6FA2346B90A5}"/>
              </a:ext>
            </a:extLst>
          </p:cNvPr>
          <p:cNvSpPr txBox="1"/>
          <p:nvPr/>
        </p:nvSpPr>
        <p:spPr>
          <a:xfrm>
            <a:off x="471948" y="188810"/>
            <a:ext cx="3923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/>
              <a:t>Exercício</a:t>
            </a:r>
          </a:p>
        </p:txBody>
      </p:sp>
      <p:graphicFrame>
        <p:nvGraphicFramePr>
          <p:cNvPr id="6" name="Tabela 14">
            <a:extLst>
              <a:ext uri="{FF2B5EF4-FFF2-40B4-BE49-F238E27FC236}">
                <a16:creationId xmlns:a16="http://schemas.microsoft.com/office/drawing/2014/main" id="{E738F518-AA48-8215-37A1-57DA16206E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350385"/>
              </p:ext>
            </p:extLst>
          </p:nvPr>
        </p:nvGraphicFramePr>
        <p:xfrm>
          <a:off x="215977" y="1383335"/>
          <a:ext cx="8554398" cy="28651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34269">
                  <a:extLst>
                    <a:ext uri="{9D8B030D-6E8A-4147-A177-3AD203B41FA5}">
                      <a16:colId xmlns:a16="http://schemas.microsoft.com/office/drawing/2014/main" val="3640260113"/>
                    </a:ext>
                  </a:extLst>
                </a:gridCol>
                <a:gridCol w="2724632">
                  <a:extLst>
                    <a:ext uri="{9D8B030D-6E8A-4147-A177-3AD203B41FA5}">
                      <a16:colId xmlns:a16="http://schemas.microsoft.com/office/drawing/2014/main" val="4245962097"/>
                    </a:ext>
                  </a:extLst>
                </a:gridCol>
                <a:gridCol w="1522833">
                  <a:extLst>
                    <a:ext uri="{9D8B030D-6E8A-4147-A177-3AD203B41FA5}">
                      <a16:colId xmlns:a16="http://schemas.microsoft.com/office/drawing/2014/main" val="4189745375"/>
                    </a:ext>
                  </a:extLst>
                </a:gridCol>
                <a:gridCol w="2572664">
                  <a:extLst>
                    <a:ext uri="{9D8B030D-6E8A-4147-A177-3AD203B41FA5}">
                      <a16:colId xmlns:a16="http://schemas.microsoft.com/office/drawing/2014/main" val="1802647946"/>
                    </a:ext>
                  </a:extLst>
                </a:gridCol>
              </a:tblGrid>
              <a:tr h="243289"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enefíc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Pergunta indu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esposta do cli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Feche o ciclo da induçã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5988252"/>
                  </a:ext>
                </a:extLst>
              </a:tr>
              <a:tr h="751840">
                <a:tc rowSpan="2">
                  <a:txBody>
                    <a:bodyPr/>
                    <a:lstStyle/>
                    <a:p>
                      <a:r>
                        <a:rPr lang="pt-BR" sz="1000" dirty="0"/>
                        <a:t>Transparência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pt-BR" sz="1000" b="0" kern="1200" dirty="0">
                          <a:solidFill>
                            <a:schemeClr val="dk1"/>
                          </a:solidFill>
                          <a:effectLst/>
                        </a:rPr>
                        <a:t>O Sr. concorda que é importante ter transparência no processo de negociação?</a:t>
                      </a:r>
                      <a:endParaRPr lang="pt-BR" sz="1000" dirty="0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000" b="0" kern="1200" dirty="0">
                          <a:solidFill>
                            <a:schemeClr val="dk1"/>
                          </a:solidFill>
                          <a:effectLst/>
                        </a:rPr>
                        <a:t>Certamente.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000" b="0" kern="1200" dirty="0">
                          <a:solidFill>
                            <a:schemeClr val="dk1"/>
                          </a:solidFill>
                          <a:effectLst/>
                        </a:rPr>
                        <a:t>Concordo.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000" b="0" kern="1200" dirty="0">
                          <a:solidFill>
                            <a:schemeClr val="dk1"/>
                          </a:solidFill>
                          <a:effectLst/>
                        </a:rPr>
                        <a:t>Claro que sim.</a:t>
                      </a:r>
                      <a:endParaRPr lang="pt-B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1000" dirty="0"/>
                        <a:t>A nossa empresa não cobra taxas extras....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pt-B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4313638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pt-BR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2212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567947"/>
                  </a:ext>
                </a:extLst>
              </a:tr>
              <a:tr h="502920">
                <a:tc rowSpan="2">
                  <a:txBody>
                    <a:bodyPr/>
                    <a:lstStyle/>
                    <a:p>
                      <a:r>
                        <a:rPr lang="pt-BR" sz="1000" dirty="0"/>
                        <a:t>Agilidade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pt-BR" sz="1000" b="0" kern="1200" dirty="0">
                          <a:solidFill>
                            <a:schemeClr val="dk1"/>
                          </a:solidFill>
                          <a:effectLst/>
                        </a:rPr>
                        <a:t>Concorda que agilidade é importante quando o Sr. precisa manter o nível do seu estoque?</a:t>
                      </a:r>
                      <a:endParaRPr lang="pt-BR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/>
                        <a:t>A Brasil dos Parafusos.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93198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5473647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2201098"/>
                  </a:ext>
                </a:extLst>
              </a:tr>
            </a:tbl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8539ACCE-6786-6A05-679B-5912471FB841}"/>
              </a:ext>
            </a:extLst>
          </p:cNvPr>
          <p:cNvSpPr txBox="1"/>
          <p:nvPr/>
        </p:nvSpPr>
        <p:spPr>
          <a:xfrm>
            <a:off x="1966787" y="465587"/>
            <a:ext cx="24282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Benefício você descobriu na fase da Sondagem, com perguntas abertas</a:t>
            </a:r>
          </a:p>
        </p:txBody>
      </p:sp>
      <p:pic>
        <p:nvPicPr>
          <p:cNvPr id="7" name="Gráfico 6" descr="Seta: curva no sentido horário estrutura de tópicos">
            <a:extLst>
              <a:ext uri="{FF2B5EF4-FFF2-40B4-BE49-F238E27FC236}">
                <a16:creationId xmlns:a16="http://schemas.microsoft.com/office/drawing/2014/main" id="{103DFA4C-708C-7648-7B61-150AF2EA17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009506">
            <a:off x="1165124" y="737176"/>
            <a:ext cx="914400" cy="91440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2B2445E9-E8A1-04B7-58F6-544048EA1CE6}"/>
              </a:ext>
            </a:extLst>
          </p:cNvPr>
          <p:cNvSpPr txBox="1"/>
          <p:nvPr/>
        </p:nvSpPr>
        <p:spPr>
          <a:xfrm>
            <a:off x="1140542" y="4549358"/>
            <a:ext cx="6862916" cy="307777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Usamos esse processo para realizar FDA - página 32</a:t>
            </a:r>
          </a:p>
        </p:txBody>
      </p:sp>
    </p:spTree>
    <p:extLst>
      <p:ext uri="{BB962C8B-B14F-4D97-AF65-F5344CB8AC3E}">
        <p14:creationId xmlns:p14="http://schemas.microsoft.com/office/powerpoint/2010/main" val="3906403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6"/>
          <p:cNvSpPr txBox="1">
            <a:spLocks noGrp="1"/>
          </p:cNvSpPr>
          <p:nvPr>
            <p:ph type="title"/>
          </p:nvPr>
        </p:nvSpPr>
        <p:spPr>
          <a:xfrm>
            <a:off x="831650" y="752300"/>
            <a:ext cx="800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Combinações e programação</a:t>
            </a:r>
            <a:endParaRPr dirty="0"/>
          </a:p>
        </p:txBody>
      </p:sp>
      <p:sp>
        <p:nvSpPr>
          <p:cNvPr id="55" name="Google Shape;55;p16"/>
          <p:cNvSpPr txBox="1">
            <a:spLocks noGrp="1"/>
          </p:cNvSpPr>
          <p:nvPr>
            <p:ph type="body" idx="1"/>
          </p:nvPr>
        </p:nvSpPr>
        <p:spPr>
          <a:xfrm>
            <a:off x="969300" y="1398450"/>
            <a:ext cx="2963602" cy="31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171450" indent="-171450">
              <a:spcAft>
                <a:spcPts val="1200"/>
              </a:spcAft>
            </a:pPr>
            <a:r>
              <a:rPr lang="pt-BR" sz="1100" b="1" dirty="0"/>
              <a:t>Interrompa e pergunte quando quiser.</a:t>
            </a:r>
          </a:p>
          <a:p>
            <a:pPr marL="171450" indent="-171450">
              <a:spcAft>
                <a:spcPts val="1200"/>
              </a:spcAft>
            </a:pPr>
            <a:endParaRPr lang="pt-BR" sz="1100" b="1" dirty="0"/>
          </a:p>
          <a:p>
            <a:pPr marL="171450" indent="-171450">
              <a:spcAft>
                <a:spcPts val="1200"/>
              </a:spcAft>
            </a:pPr>
            <a:r>
              <a:rPr lang="pt-BR" sz="1100" b="1" dirty="0"/>
              <a:t>Se precisar responder mensagens e atender ligações, fique a vontade. Fora da sala.</a:t>
            </a:r>
          </a:p>
          <a:p>
            <a:pPr marL="171450" indent="-171450">
              <a:spcAft>
                <a:spcPts val="1200"/>
              </a:spcAft>
            </a:pPr>
            <a:endParaRPr lang="pt-BR" sz="1100" b="1" dirty="0"/>
          </a:p>
          <a:p>
            <a:pPr marL="171450" indent="-171450">
              <a:spcAft>
                <a:spcPts val="1200"/>
              </a:spcAft>
            </a:pPr>
            <a:r>
              <a:rPr lang="pt-BR" sz="1100" b="1" dirty="0"/>
              <a:t>Contribua, sugira, critique. Seja construtivo!</a:t>
            </a:r>
          </a:p>
          <a:p>
            <a:pPr marL="171450" indent="-171450">
              <a:spcAft>
                <a:spcPts val="1200"/>
              </a:spcAft>
            </a:pPr>
            <a:r>
              <a:rPr lang="pt-BR" sz="1100" b="1" dirty="0"/>
              <a:t>Intervalos 10h – 12h – 15h</a:t>
            </a:r>
            <a:endParaRPr sz="1100" b="1" dirty="0"/>
          </a:p>
        </p:txBody>
      </p:sp>
      <p:sp>
        <p:nvSpPr>
          <p:cNvPr id="4" name="Google Shape;55;p16">
            <a:extLst>
              <a:ext uri="{FF2B5EF4-FFF2-40B4-BE49-F238E27FC236}">
                <a16:creationId xmlns:a16="http://schemas.microsoft.com/office/drawing/2014/main" id="{D65E6A9C-23F0-E156-5530-931CA3E60AC5}"/>
              </a:ext>
            </a:extLst>
          </p:cNvPr>
          <p:cNvSpPr txBox="1">
            <a:spLocks/>
          </p:cNvSpPr>
          <p:nvPr/>
        </p:nvSpPr>
        <p:spPr>
          <a:xfrm>
            <a:off x="4572000" y="1325000"/>
            <a:ext cx="2963602" cy="31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dirty="0">
                <a:highlight>
                  <a:srgbClr val="FFFF00"/>
                </a:highlight>
              </a:rPr>
              <a:t>Manhã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 err="1"/>
              <a:t>Pré</a:t>
            </a:r>
            <a:r>
              <a:rPr lang="pt-BR" sz="1100" b="1" dirty="0"/>
              <a:t> venda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/>
              <a:t>Conceitos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/>
              <a:t>Conscientização do papel de cada um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dirty="0">
                <a:highlight>
                  <a:srgbClr val="FFFF00"/>
                </a:highlight>
              </a:rPr>
              <a:t>Tarde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/>
              <a:t>Venda – Execução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/>
              <a:t>Muitos exercícios!</a:t>
            </a:r>
          </a:p>
          <a:p>
            <a:pPr marL="0" indent="0">
              <a:spcAft>
                <a:spcPts val="1200"/>
              </a:spcAft>
              <a:buFont typeface="Arial"/>
              <a:buNone/>
            </a:pPr>
            <a:r>
              <a:rPr lang="pt-BR" sz="1100" b="1" dirty="0"/>
              <a:t>Pós venda</a:t>
            </a: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79DBBFF6-E0CA-A0A1-8621-DD34D3F41596}"/>
              </a:ext>
            </a:extLst>
          </p:cNvPr>
          <p:cNvCxnSpPr/>
          <p:nvPr/>
        </p:nvCxnSpPr>
        <p:spPr>
          <a:xfrm>
            <a:off x="4031226" y="1325000"/>
            <a:ext cx="0" cy="32438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áfico 5" descr="Ponto de interrogação com preenchimento sólido">
            <a:extLst>
              <a:ext uri="{FF2B5EF4-FFF2-40B4-BE49-F238E27FC236}">
                <a16:creationId xmlns:a16="http://schemas.microsoft.com/office/drawing/2014/main" id="{F204A330-740B-D1D2-54D3-D8862B06F2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0819" y="1325000"/>
            <a:ext cx="545689" cy="545689"/>
          </a:xfrm>
          <a:prstGeom prst="rect">
            <a:avLst/>
          </a:prstGeom>
        </p:spPr>
      </p:pic>
      <p:pic>
        <p:nvPicPr>
          <p:cNvPr id="12" name="Gráfico 11" descr="Proibido telefones com preenchimento sólido">
            <a:extLst>
              <a:ext uri="{FF2B5EF4-FFF2-40B4-BE49-F238E27FC236}">
                <a16:creationId xmlns:a16="http://schemas.microsoft.com/office/drawing/2014/main" id="{B5F261A5-49CE-F14F-BC1C-E7969822B8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7313" y="2101380"/>
            <a:ext cx="572700" cy="572700"/>
          </a:xfrm>
          <a:prstGeom prst="rect">
            <a:avLst/>
          </a:prstGeom>
        </p:spPr>
      </p:pic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B27E583B-62BA-BB0D-6CA2-D97E0CA9D854}"/>
              </a:ext>
            </a:extLst>
          </p:cNvPr>
          <p:cNvCxnSpPr/>
          <p:nvPr/>
        </p:nvCxnSpPr>
        <p:spPr>
          <a:xfrm>
            <a:off x="4129548" y="2674080"/>
            <a:ext cx="44245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 descr="Debate de grupo estrutura de tópicos">
            <a:extLst>
              <a:ext uri="{FF2B5EF4-FFF2-40B4-BE49-F238E27FC236}">
                <a16:creationId xmlns:a16="http://schemas.microsoft.com/office/drawing/2014/main" id="{7356C0DA-39AE-318E-5488-C7746B7D32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108" y="2904771"/>
            <a:ext cx="914400" cy="914400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24EE22A8-D0B5-0DE0-FCF5-7ADC68AD1010}"/>
              </a:ext>
            </a:extLst>
          </p:cNvPr>
          <p:cNvSpPr txBox="1"/>
          <p:nvPr/>
        </p:nvSpPr>
        <p:spPr>
          <a:xfrm>
            <a:off x="3205316" y="1268361"/>
            <a:ext cx="45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EE06331-BD07-BED0-EBB4-B30A60FC1C48}"/>
              </a:ext>
            </a:extLst>
          </p:cNvPr>
          <p:cNvSpPr/>
          <p:nvPr/>
        </p:nvSpPr>
        <p:spPr>
          <a:xfrm>
            <a:off x="1838632" y="1576138"/>
            <a:ext cx="4513006" cy="109332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t-BR" sz="2800" dirty="0"/>
              <a:t>Contorno de objeções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1BE7B5C7-36A0-510F-9248-909B76525301}"/>
              </a:ext>
            </a:extLst>
          </p:cNvPr>
          <p:cNvSpPr/>
          <p:nvPr/>
        </p:nvSpPr>
        <p:spPr>
          <a:xfrm>
            <a:off x="2084438" y="3313471"/>
            <a:ext cx="4021394" cy="46211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/>
              <a:t>Páginas 34 a 37</a:t>
            </a:r>
          </a:p>
        </p:txBody>
      </p:sp>
    </p:spTree>
    <p:extLst>
      <p:ext uri="{BB962C8B-B14F-4D97-AF65-F5344CB8AC3E}">
        <p14:creationId xmlns:p14="http://schemas.microsoft.com/office/powerpoint/2010/main" val="16063512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3" descr="Slide 01 Tela.JPG">
            <a:extLst>
              <a:ext uri="{FF2B5EF4-FFF2-40B4-BE49-F238E27FC236}">
                <a16:creationId xmlns:a16="http://schemas.microsoft.com/office/drawing/2014/main" id="{91E9579A-701D-2BE5-50BE-2052B2CACB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10" y="135500"/>
            <a:ext cx="6024716" cy="451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ular Callout 2">
            <a:extLst>
              <a:ext uri="{FF2B5EF4-FFF2-40B4-BE49-F238E27FC236}">
                <a16:creationId xmlns:a16="http://schemas.microsoft.com/office/drawing/2014/main" id="{D56DA840-8406-C1E8-AF98-BBDCDA367063}"/>
              </a:ext>
            </a:extLst>
          </p:cNvPr>
          <p:cNvSpPr/>
          <p:nvPr/>
        </p:nvSpPr>
        <p:spPr bwMode="auto">
          <a:xfrm>
            <a:off x="3087329" y="3028336"/>
            <a:ext cx="1805792" cy="923128"/>
          </a:xfrm>
          <a:prstGeom prst="wedgeRectCallout">
            <a:avLst>
              <a:gd name="adj1" fmla="val 69047"/>
              <a:gd name="adj2" fmla="val 5116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4290" rIns="34290" rtlCol="0" anchor="ctr">
            <a:noAutofit/>
          </a:bodyPr>
          <a:lstStyle/>
          <a:p>
            <a:pPr algn="ctr"/>
            <a:endParaRPr lang="en-US" sz="1050" dirty="0">
              <a:latin typeface="Calibri" charset="0"/>
            </a:endParaRPr>
          </a:p>
          <a:p>
            <a:pPr algn="ctr"/>
            <a:r>
              <a:rPr lang="en-US" sz="1050" b="1" dirty="0">
                <a:latin typeface="Calibri" charset="0"/>
              </a:rPr>
              <a:t>PERGUNTAS FECHADAS…</a:t>
            </a:r>
          </a:p>
          <a:p>
            <a:pPr algn="ctr">
              <a:buFont typeface="Arial" charset="0"/>
              <a:buChar char="•"/>
            </a:pPr>
            <a:endParaRPr lang="en-US" sz="1050" b="1" dirty="0">
              <a:latin typeface="Calibri" charset="0"/>
            </a:endParaRPr>
          </a:p>
          <a:p>
            <a:pPr algn="ctr"/>
            <a:r>
              <a:rPr lang="en-US" sz="1050" b="1" dirty="0">
                <a:latin typeface="Calibri" charset="0"/>
              </a:rPr>
              <a:t>CRIAR O FILME…</a:t>
            </a:r>
          </a:p>
          <a:p>
            <a:pPr algn="ctr"/>
            <a:endParaRPr lang="en-US" sz="1050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27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 bwMode="auto">
          <a:xfrm>
            <a:off x="1143000" y="3966508"/>
            <a:ext cx="6858000" cy="11769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4290" rIns="34290" rtlCol="0" anchor="ctr"/>
          <a:lstStyle/>
          <a:p>
            <a:pPr algn="ctr"/>
            <a:endParaRPr lang="en-US" sz="900" b="1" dirty="0"/>
          </a:p>
        </p:txBody>
      </p:sp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050" b="1" i="1" dirty="0"/>
          </a:p>
        </p:txBody>
      </p:sp>
      <p:grpSp>
        <p:nvGrpSpPr>
          <p:cNvPr id="5" name="Grupo 27"/>
          <p:cNvGrpSpPr>
            <a:grpSpLocks/>
          </p:cNvGrpSpPr>
          <p:nvPr/>
        </p:nvGrpSpPr>
        <p:grpSpPr bwMode="auto">
          <a:xfrm>
            <a:off x="1330476" y="1047765"/>
            <a:ext cx="6491936" cy="3671692"/>
            <a:chOff x="298721" y="1214422"/>
            <a:chExt cx="8369029" cy="5357828"/>
          </a:xfrm>
          <a:noFill/>
        </p:grpSpPr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357158" y="1214422"/>
              <a:ext cx="8310592" cy="5357828"/>
            </a:xfrm>
            <a:prstGeom prst="rect">
              <a:avLst/>
            </a:prstGeom>
            <a:grpFill/>
            <a:ln w="19050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auto">
            <a:xfrm>
              <a:off x="2860394" y="2838449"/>
              <a:ext cx="5791200" cy="0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4862513" y="1238249"/>
              <a:ext cx="12277" cy="5332564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" name="Line 7"/>
            <p:cNvSpPr>
              <a:spLocks noChangeShapeType="1"/>
            </p:cNvSpPr>
            <p:nvPr/>
          </p:nvSpPr>
          <p:spPr bwMode="auto">
            <a:xfrm>
              <a:off x="6915149" y="1238250"/>
              <a:ext cx="11352" cy="5332563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H="1">
              <a:off x="361950" y="3612706"/>
              <a:ext cx="2514600" cy="0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2876550" y="3612706"/>
              <a:ext cx="5791200" cy="0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3" name="Line 11"/>
            <p:cNvSpPr>
              <a:spLocks noChangeShapeType="1"/>
            </p:cNvSpPr>
            <p:nvPr/>
          </p:nvSpPr>
          <p:spPr bwMode="auto">
            <a:xfrm>
              <a:off x="361950" y="5097040"/>
              <a:ext cx="8305800" cy="0"/>
            </a:xfrm>
            <a:prstGeom prst="line">
              <a:avLst/>
            </a:prstGeom>
            <a:grpFill/>
            <a:ln w="190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2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4" name="Text Box 14"/>
            <p:cNvSpPr txBox="1">
              <a:spLocks noChangeArrowheads="1"/>
            </p:cNvSpPr>
            <p:nvPr/>
          </p:nvSpPr>
          <p:spPr bwMode="auto">
            <a:xfrm>
              <a:off x="3028415" y="1765026"/>
              <a:ext cx="731954" cy="33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900" b="1" dirty="0">
                  <a:latin typeface="Calibri" pitchFamily="34" charset="0"/>
                  <a:ea typeface="+mn-ea"/>
                  <a:cs typeface="Calibri" pitchFamily="34" charset="0"/>
                </a:rPr>
                <a:t> ELOGIA</a:t>
              </a:r>
            </a:p>
          </p:txBody>
        </p:sp>
        <p:sp>
          <p:nvSpPr>
            <p:cNvPr id="15" name="Text Box 15"/>
            <p:cNvSpPr txBox="1">
              <a:spLocks noChangeArrowheads="1"/>
            </p:cNvSpPr>
            <p:nvPr/>
          </p:nvSpPr>
          <p:spPr bwMode="auto">
            <a:xfrm>
              <a:off x="4977815" y="1686219"/>
              <a:ext cx="692691" cy="33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900" b="1" dirty="0">
                  <a:latin typeface="Calibri" pitchFamily="34" charset="0"/>
                  <a:ea typeface="+mn-ea"/>
                  <a:cs typeface="Calibri" pitchFamily="34" charset="0"/>
                </a:rPr>
                <a:t>REPETE</a:t>
              </a:r>
            </a:p>
          </p:txBody>
        </p:sp>
        <p:sp>
          <p:nvSpPr>
            <p:cNvPr id="16" name="Text Box 16"/>
            <p:cNvSpPr txBox="1">
              <a:spLocks noChangeArrowheads="1"/>
            </p:cNvSpPr>
            <p:nvPr/>
          </p:nvSpPr>
          <p:spPr bwMode="auto">
            <a:xfrm>
              <a:off x="6933956" y="1765026"/>
              <a:ext cx="820814" cy="33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900" b="1" dirty="0">
                  <a:latin typeface="Calibri" pitchFamily="34" charset="0"/>
                  <a:ea typeface="+mn-ea"/>
                  <a:cs typeface="Calibri" pitchFamily="34" charset="0"/>
                </a:rPr>
                <a:t> REVERTE</a:t>
              </a:r>
            </a:p>
          </p:txBody>
        </p:sp>
        <p:sp>
          <p:nvSpPr>
            <p:cNvPr id="17" name="Text Box 17"/>
            <p:cNvSpPr txBox="1">
              <a:spLocks noChangeArrowheads="1"/>
            </p:cNvSpPr>
            <p:nvPr/>
          </p:nvSpPr>
          <p:spPr bwMode="auto">
            <a:xfrm>
              <a:off x="298721" y="1878953"/>
              <a:ext cx="2639786" cy="121261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Lembre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-se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que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a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objeção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</a:p>
            <a:p>
              <a:pPr algn="ctr">
                <a:defRPr/>
              </a:pP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do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cliente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não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é um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entrave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, </a:t>
              </a:r>
            </a:p>
            <a:p>
              <a:pPr algn="ctr">
                <a:defRPr/>
              </a:pP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mas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um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desejo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 de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solução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. </a:t>
              </a:r>
            </a:p>
            <a:p>
              <a:pPr algn="ctr">
                <a:defRPr/>
              </a:pP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Portanto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, </a:t>
              </a:r>
              <a:r>
                <a:rPr lang="en-US" sz="1200" i="1" dirty="0" err="1">
                  <a:latin typeface="Calibri" pitchFamily="34" charset="0"/>
                  <a:ea typeface="+mn-ea"/>
                  <a:cs typeface="Calibri" pitchFamily="34" charset="0"/>
                </a:rPr>
                <a:t>reverta</a:t>
              </a:r>
              <a:r>
                <a:rPr lang="en-US" sz="1200" i="1" dirty="0">
                  <a:latin typeface="Calibri" pitchFamily="34" charset="0"/>
                  <a:ea typeface="+mn-ea"/>
                  <a:cs typeface="Calibri" pitchFamily="34" charset="0"/>
                </a:rPr>
                <a:t>…</a:t>
              </a:r>
            </a:p>
          </p:txBody>
        </p:sp>
        <p:sp>
          <p:nvSpPr>
            <p:cNvPr id="18" name="Text Box 18"/>
            <p:cNvSpPr txBox="1">
              <a:spLocks noChangeArrowheads="1"/>
            </p:cNvSpPr>
            <p:nvPr/>
          </p:nvSpPr>
          <p:spPr bwMode="auto">
            <a:xfrm>
              <a:off x="368342" y="3681344"/>
              <a:ext cx="1004733" cy="3705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050" b="1" dirty="0" err="1">
                  <a:latin typeface="Calibri" pitchFamily="34" charset="0"/>
                  <a:ea typeface="+mn-ea"/>
                  <a:cs typeface="Calibri" pitchFamily="34" charset="0"/>
                </a:rPr>
                <a:t>Objeção</a:t>
              </a:r>
              <a:r>
                <a:rPr lang="en-US" sz="1050" b="1" dirty="0">
                  <a:latin typeface="Calibri" pitchFamily="34" charset="0"/>
                  <a:ea typeface="+mn-ea"/>
                  <a:cs typeface="Calibri" pitchFamily="34" charset="0"/>
                </a:rPr>
                <a:t> 1:</a:t>
              </a:r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auto">
            <a:xfrm>
              <a:off x="368342" y="5203962"/>
              <a:ext cx="1004733" cy="3705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050" b="1" dirty="0" err="1">
                  <a:latin typeface="Calibri" pitchFamily="34" charset="0"/>
                  <a:ea typeface="+mn-ea"/>
                  <a:cs typeface="Calibri" pitchFamily="34" charset="0"/>
                </a:rPr>
                <a:t>Objeção</a:t>
              </a:r>
              <a:r>
                <a:rPr lang="en-US" sz="1050" b="1" dirty="0">
                  <a:latin typeface="Calibri" pitchFamily="34" charset="0"/>
                  <a:ea typeface="+mn-ea"/>
                  <a:cs typeface="Calibri" pitchFamily="34" charset="0"/>
                </a:rPr>
                <a:t> 2:</a:t>
              </a:r>
            </a:p>
          </p:txBody>
        </p:sp>
        <p:sp>
          <p:nvSpPr>
            <p:cNvPr id="21" name="Text Box 20"/>
            <p:cNvSpPr txBox="1">
              <a:spLocks noChangeArrowheads="1"/>
            </p:cNvSpPr>
            <p:nvPr/>
          </p:nvSpPr>
          <p:spPr bwMode="auto">
            <a:xfrm>
              <a:off x="2830185" y="2251987"/>
              <a:ext cx="2088642" cy="5389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Valorize a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percepção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do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cliente</a:t>
              </a:r>
              <a:endParaRPr lang="en-US" sz="900" dirty="0"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2" name="Text Box 21"/>
            <p:cNvSpPr txBox="1">
              <a:spLocks noChangeArrowheads="1"/>
            </p:cNvSpPr>
            <p:nvPr/>
          </p:nvSpPr>
          <p:spPr bwMode="auto">
            <a:xfrm>
              <a:off x="4783410" y="2082159"/>
              <a:ext cx="2213426" cy="74104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Traduza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a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colocação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do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cliente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com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outras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palavras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,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mostrando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empatia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e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humildade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.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auto">
            <a:xfrm>
              <a:off x="6927215" y="2284261"/>
              <a:ext cx="1740535" cy="5389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Mude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a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Abordagem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 com outros </a:t>
              </a:r>
              <a:r>
                <a:rPr lang="en-US" sz="900" dirty="0" err="1">
                  <a:latin typeface="Calibri" pitchFamily="34" charset="0"/>
                  <a:ea typeface="+mn-ea"/>
                  <a:cs typeface="Calibri" pitchFamily="34" charset="0"/>
                </a:rPr>
                <a:t>argumentos</a:t>
              </a:r>
              <a:r>
                <a:rPr lang="en-US" sz="900" dirty="0">
                  <a:latin typeface="Calibri" pitchFamily="34" charset="0"/>
                  <a:ea typeface="+mn-ea"/>
                  <a:cs typeface="Calibri" pitchFamily="34" charset="0"/>
                </a:rPr>
                <a:t>.</a:t>
              </a:r>
            </a:p>
          </p:txBody>
        </p:sp>
        <p:sp>
          <p:nvSpPr>
            <p:cNvPr id="24" name="Text Box 23"/>
            <p:cNvSpPr txBox="1">
              <a:spLocks noChangeArrowheads="1"/>
            </p:cNvSpPr>
            <p:nvPr/>
          </p:nvSpPr>
          <p:spPr bwMode="auto">
            <a:xfrm>
              <a:off x="2818319" y="2967502"/>
              <a:ext cx="2112376" cy="3705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Muito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boa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sua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colocação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…</a:t>
              </a:r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auto">
            <a:xfrm>
              <a:off x="4876799" y="2809522"/>
              <a:ext cx="2170160" cy="107787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Realmente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entendo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…</a:t>
              </a:r>
            </a:p>
            <a:p>
              <a:pPr algn="ctr">
                <a:defRPr/>
              </a:pP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o Sr.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quer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dizer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que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…</a:t>
              </a:r>
            </a:p>
            <a:p>
              <a:pPr algn="ctr">
                <a:defRPr/>
              </a:pP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No 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seu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 </a:t>
              </a: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lugar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….</a:t>
              </a:r>
            </a:p>
            <a:p>
              <a:pPr algn="ctr">
                <a:defRPr/>
              </a:pPr>
              <a:endParaRPr lang="en-US" sz="1050" i="1" dirty="0">
                <a:solidFill>
                  <a:srgbClr val="FF6600"/>
                </a:solidFill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6" name="Text Box 25"/>
            <p:cNvSpPr txBox="1">
              <a:spLocks noChangeArrowheads="1"/>
            </p:cNvSpPr>
            <p:nvPr/>
          </p:nvSpPr>
          <p:spPr bwMode="auto">
            <a:xfrm>
              <a:off x="7438570" y="2989245"/>
              <a:ext cx="814614" cy="3705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050" i="1" dirty="0" err="1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Porém</a:t>
              </a:r>
              <a:r>
                <a:rPr lang="en-US" sz="1050" i="1" dirty="0">
                  <a:solidFill>
                    <a:srgbClr val="FF6600"/>
                  </a:solidFill>
                  <a:latin typeface="Calibri" pitchFamily="34" charset="0"/>
                  <a:ea typeface="+mn-ea"/>
                  <a:cs typeface="Calibri" pitchFamily="34" charset="0"/>
                </a:rPr>
                <a:t>…</a:t>
              </a:r>
            </a:p>
          </p:txBody>
        </p:sp>
      </p:grpSp>
      <p:sp>
        <p:nvSpPr>
          <p:cNvPr id="27" name="Line 7"/>
          <p:cNvSpPr>
            <a:spLocks noChangeShapeType="1"/>
          </p:cNvSpPr>
          <p:nvPr/>
        </p:nvSpPr>
        <p:spPr bwMode="auto">
          <a:xfrm>
            <a:off x="3316418" y="1057839"/>
            <a:ext cx="8334" cy="3655219"/>
          </a:xfrm>
          <a:prstGeom prst="line">
            <a:avLst/>
          </a:prstGeom>
          <a:noFill/>
          <a:ln w="1905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pt-BR" sz="12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8" name="TextBox 25"/>
          <p:cNvSpPr txBox="1">
            <a:spLocks noChangeArrowheads="1"/>
          </p:cNvSpPr>
          <p:nvPr/>
        </p:nvSpPr>
        <p:spPr bwMode="auto">
          <a:xfrm>
            <a:off x="1341171" y="299150"/>
            <a:ext cx="5994797" cy="56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4290" rIns="3429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300"/>
              </a:spcBef>
            </a:pPr>
            <a:r>
              <a:rPr lang="pt-BR" sz="1350" i="1" dirty="0"/>
              <a:t>Utilize a técnica ELOGIA+REPETE+REVERTE para driblar as 2 objeções de clientes que seu grupo ficou responsável por analisar</a:t>
            </a:r>
            <a:endParaRPr lang="pt-BR" sz="1350" b="1" i="1" dirty="0"/>
          </a:p>
        </p:txBody>
      </p:sp>
      <p:sp>
        <p:nvSpPr>
          <p:cNvPr id="29" name="Rectangle 26"/>
          <p:cNvSpPr>
            <a:spLocks noChangeArrowheads="1"/>
          </p:cNvSpPr>
          <p:nvPr/>
        </p:nvSpPr>
        <p:spPr bwMode="auto">
          <a:xfrm>
            <a:off x="1341170" y="82457"/>
            <a:ext cx="254589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050" b="1" i="1" dirty="0"/>
              <a:t>E</a:t>
            </a:r>
            <a:r>
              <a:rPr lang="pt-BR" sz="1050" b="1" i="1" dirty="0" err="1"/>
              <a:t>xercício</a:t>
            </a:r>
            <a:r>
              <a:rPr lang="pt-BR" sz="1050" b="1" i="1" dirty="0"/>
              <a:t>: Contornando de Objeções</a:t>
            </a:r>
            <a:endParaRPr lang="en-US" sz="1050" dirty="0"/>
          </a:p>
        </p:txBody>
      </p:sp>
      <p:pic>
        <p:nvPicPr>
          <p:cNvPr id="30" name="Imagem 16" descr="imagesCAL59609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887" y="1262626"/>
            <a:ext cx="702469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m 17" descr="imagesCAHW0IF8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446" y="1100701"/>
            <a:ext cx="902494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m 18" descr="imagesCAX0EJ7R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673" y="904030"/>
            <a:ext cx="616744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2808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>
            <a:extLst>
              <a:ext uri="{FF2B5EF4-FFF2-40B4-BE49-F238E27FC236}">
                <a16:creationId xmlns:a16="http://schemas.microsoft.com/office/drawing/2014/main" id="{305DB27B-0B35-BA4C-147C-47814660AEA1}"/>
              </a:ext>
            </a:extLst>
          </p:cNvPr>
          <p:cNvSpPr/>
          <p:nvPr/>
        </p:nvSpPr>
        <p:spPr>
          <a:xfrm>
            <a:off x="1366683" y="1046599"/>
            <a:ext cx="6253316" cy="67094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14300" indent="0">
              <a:buNone/>
            </a:pPr>
            <a:r>
              <a:rPr lang="pt-BR" sz="1800"/>
              <a:t>Qual o papel de cada área? Responsabilidades, funções</a:t>
            </a:r>
            <a:endParaRPr lang="pt-BR" sz="1800" dirty="0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546B249B-A6EF-79F7-C457-122197BDFC93}"/>
              </a:ext>
            </a:extLst>
          </p:cNvPr>
          <p:cNvSpPr/>
          <p:nvPr/>
        </p:nvSpPr>
        <p:spPr>
          <a:xfrm>
            <a:off x="1445342" y="2571750"/>
            <a:ext cx="6253316" cy="67094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14300" indent="0">
              <a:buNone/>
            </a:pPr>
            <a:r>
              <a:rPr lang="pt-BR" sz="1800" dirty="0"/>
              <a:t>Como os desafios de cada área impacta a satisfação do cliente?</a:t>
            </a:r>
          </a:p>
        </p:txBody>
      </p:sp>
    </p:spTree>
    <p:extLst>
      <p:ext uri="{BB962C8B-B14F-4D97-AF65-F5344CB8AC3E}">
        <p14:creationId xmlns:p14="http://schemas.microsoft.com/office/powerpoint/2010/main" val="3872332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1080150" y="546985"/>
            <a:ext cx="69837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Vender</a:t>
            </a:r>
            <a:endParaRPr dirty="0"/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B94F8011-6361-7229-AA2A-14C46260DDC9}"/>
              </a:ext>
            </a:extLst>
          </p:cNvPr>
          <p:cNvSpPr/>
          <p:nvPr/>
        </p:nvSpPr>
        <p:spPr>
          <a:xfrm>
            <a:off x="521110" y="1957234"/>
            <a:ext cx="3156155" cy="122903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Transferir bem ou mercadoria para outro em troca de dinheiro.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ECEE2674-A963-41ED-C249-4D80C3B5ED9B}"/>
              </a:ext>
            </a:extLst>
          </p:cNvPr>
          <p:cNvSpPr/>
          <p:nvPr/>
        </p:nvSpPr>
        <p:spPr>
          <a:xfrm>
            <a:off x="4720882" y="1957234"/>
            <a:ext cx="3156155" cy="1229032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Melhorar a vida de alguém através de oferta de produto e serviço de modo que agregue facilidade e satisfação em algum aspecto na vida de alguém.</a:t>
            </a:r>
          </a:p>
        </p:txBody>
      </p:sp>
      <p:pic>
        <p:nvPicPr>
          <p:cNvPr id="5" name="Imagem 4" descr="Mensagem em uma garrafa">
            <a:extLst>
              <a:ext uri="{FF2B5EF4-FFF2-40B4-BE49-F238E27FC236}">
                <a16:creationId xmlns:a16="http://schemas.microsoft.com/office/drawing/2014/main" id="{D41BB0AE-3D2A-B1D5-D989-EDA5AF82F7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08" y="3186266"/>
            <a:ext cx="2655358" cy="1769806"/>
          </a:xfrm>
          <a:prstGeom prst="rect">
            <a:avLst/>
          </a:prstGeom>
        </p:spPr>
      </p:pic>
      <p:pic>
        <p:nvPicPr>
          <p:cNvPr id="7" name="Imagem 6" descr="Mão posicionando estrelas">
            <a:extLst>
              <a:ext uri="{FF2B5EF4-FFF2-40B4-BE49-F238E27FC236}">
                <a16:creationId xmlns:a16="http://schemas.microsoft.com/office/drawing/2014/main" id="{8BAEB88B-724F-9422-4DBB-7D941C5AC4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2923" y="3186266"/>
            <a:ext cx="2652071" cy="1769807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893621E1-C999-ABD7-D54B-0BF127C00D47}"/>
              </a:ext>
            </a:extLst>
          </p:cNvPr>
          <p:cNvSpPr/>
          <p:nvPr/>
        </p:nvSpPr>
        <p:spPr>
          <a:xfrm>
            <a:off x="580104" y="246421"/>
            <a:ext cx="4257368" cy="297917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guns DESTAQUES da Brasil dos Parafusos relatados pelos próprios clientes:</a:t>
            </a:r>
            <a:endParaRPr lang="pt-BR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pt-B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tende o que é urgente para o cliente e sabe priorizar</a:t>
            </a:r>
            <a:endParaRPr lang="pt-BR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pt-B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ssui venda consultiva confiável</a:t>
            </a:r>
            <a:endParaRPr lang="pt-BR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pt-BR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ssui produtos a pronta entrega</a:t>
            </a:r>
            <a:endParaRPr lang="pt-BR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6B323923-3CF2-B85A-F44E-597AB286D9E3}"/>
              </a:ext>
            </a:extLst>
          </p:cNvPr>
          <p:cNvSpPr txBox="1"/>
          <p:nvPr/>
        </p:nvSpPr>
        <p:spPr>
          <a:xfrm>
            <a:off x="869541" y="3197847"/>
            <a:ext cx="1120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Página 11</a:t>
            </a:r>
          </a:p>
        </p:txBody>
      </p:sp>
      <p:pic>
        <p:nvPicPr>
          <p:cNvPr id="6" name="Imagem 5" descr="Lâmpadas flutuantes escuras, com uma iluminada">
            <a:extLst>
              <a:ext uri="{FF2B5EF4-FFF2-40B4-BE49-F238E27FC236}">
                <a16:creationId xmlns:a16="http://schemas.microsoft.com/office/drawing/2014/main" id="{B1574733-1761-2036-982E-75CEF3FC83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7136" y="2105851"/>
            <a:ext cx="2832920" cy="283292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8"/>
          <p:cNvSpPr txBox="1">
            <a:spLocks noGrp="1"/>
          </p:cNvSpPr>
          <p:nvPr>
            <p:ph type="title"/>
          </p:nvPr>
        </p:nvSpPr>
        <p:spPr>
          <a:xfrm>
            <a:off x="886325" y="526350"/>
            <a:ext cx="5035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O que é o MEC?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58270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1080150" y="2150850"/>
            <a:ext cx="69837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 fontScale="90000"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dirty="0"/>
              <a:t>Como podemos usar no dia a dia?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2852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1"/>
          <p:cNvSpPr txBox="1">
            <a:spLocks noGrp="1"/>
          </p:cNvSpPr>
          <p:nvPr>
            <p:ph type="body" idx="1"/>
          </p:nvPr>
        </p:nvSpPr>
        <p:spPr>
          <a:xfrm>
            <a:off x="311700" y="3000850"/>
            <a:ext cx="8520600" cy="145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pt-BR" dirty="0">
                <a:hlinkClick r:id="rId3"/>
              </a:rPr>
              <a:t>https://youtu.be/MNJmuEtUgxw</a:t>
            </a:r>
            <a:endParaRPr lang="pt-BR" dirty="0"/>
          </a:p>
          <a:p>
            <a:pPr marL="0" lvl="0" indent="0" algn="ctr" rtl="0">
              <a:spcBef>
                <a:spcPts val="0"/>
              </a:spcBef>
              <a:spcAft>
                <a:spcPts val="1200"/>
              </a:spcAft>
              <a:buNone/>
            </a:pPr>
            <a:endParaRPr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2806078-0386-A97C-E407-BF99629020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770" y="1371017"/>
            <a:ext cx="1981477" cy="154326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S8W4VI02YKQH.zpHRbA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2</TotalTime>
  <Words>609</Words>
  <Application>Microsoft Office PowerPoint</Application>
  <PresentationFormat>Apresentação na tela (16:9)</PresentationFormat>
  <Paragraphs>121</Paragraphs>
  <Slides>33</Slides>
  <Notes>2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3</vt:i4>
      </vt:variant>
    </vt:vector>
  </HeadingPairs>
  <TitlesOfParts>
    <vt:vector size="39" baseType="lpstr">
      <vt:lpstr>Arial</vt:lpstr>
      <vt:lpstr>Calibri</vt:lpstr>
      <vt:lpstr>Times New Roman</vt:lpstr>
      <vt:lpstr>Wingdings</vt:lpstr>
      <vt:lpstr>Simple Light</vt:lpstr>
      <vt:lpstr>think-cell Slide</vt:lpstr>
      <vt:lpstr>Treinamento</vt:lpstr>
      <vt:lpstr>Apresentações</vt:lpstr>
      <vt:lpstr>Combinações e programação</vt:lpstr>
      <vt:lpstr>Apresentação do PowerPoint</vt:lpstr>
      <vt:lpstr>Vender</vt:lpstr>
      <vt:lpstr>Apresentação do PowerPoint</vt:lpstr>
      <vt:lpstr>O que é o MEC?</vt:lpstr>
      <vt:lpstr>Como podemos usar no dia a dia?</vt:lpstr>
      <vt:lpstr>Apresentação do PowerPoint</vt:lpstr>
      <vt:lpstr>Apresentação do PowerPoint</vt:lpstr>
      <vt:lpstr>Pré venda:</vt:lpstr>
      <vt:lpstr>Apresentação do PowerPoint</vt:lpstr>
      <vt:lpstr>Apresentação do PowerPoint</vt:lpstr>
      <vt:lpstr>Apresentação do PowerPoint</vt:lpstr>
      <vt:lpstr>Critérios para fazer a gestão da carteira de client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erguntas aberta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que para adicionar um título</dc:title>
  <dc:creator>Joana MMartins</dc:creator>
  <cp:lastModifiedBy>Joana MMartins</cp:lastModifiedBy>
  <cp:revision>1</cp:revision>
  <dcterms:modified xsi:type="dcterms:W3CDTF">2022-07-16T19:19:25Z</dcterms:modified>
</cp:coreProperties>
</file>